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4393" r:id="rId4"/>
  </p:sldMasterIdLst>
  <p:notesMasterIdLst>
    <p:notesMasterId r:id="rId21"/>
  </p:notesMasterIdLst>
  <p:handoutMasterIdLst>
    <p:handoutMasterId r:id="rId22"/>
  </p:handoutMasterIdLst>
  <p:sldIdLst>
    <p:sldId id="2076138451" r:id="rId5"/>
    <p:sldId id="2147469155" r:id="rId6"/>
    <p:sldId id="2147470526" r:id="rId7"/>
    <p:sldId id="2147469651" r:id="rId8"/>
    <p:sldId id="2147469780" r:id="rId9"/>
    <p:sldId id="2147470527" r:id="rId10"/>
    <p:sldId id="2147470528" r:id="rId11"/>
    <p:sldId id="2147470529" r:id="rId12"/>
    <p:sldId id="2147470530" r:id="rId13"/>
    <p:sldId id="2147470531" r:id="rId14"/>
    <p:sldId id="2147470532" r:id="rId15"/>
    <p:sldId id="2147470533" r:id="rId16"/>
    <p:sldId id="2147470534" r:id="rId17"/>
    <p:sldId id="2147470535" r:id="rId18"/>
    <p:sldId id="2147470536" r:id="rId19"/>
    <p:sldId id="2147470537" r:id="rId20"/>
  </p:sldIdLst>
  <p:sldSz cx="12192000" cy="6858000"/>
  <p:notesSz cx="7315200" cy="96012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ller guidance &amp; legal notice" id="{D2FF507C-826F-4F24-994C-CC78CE247FA0}">
          <p14:sldIdLst/>
        </p14:section>
        <p14:section name="Intro" id="{F3D5EF72-41E5-42E4-9DC8-AF88925C84F9}">
          <p14:sldIdLst>
            <p14:sldId id="2076138451"/>
            <p14:sldId id="2147469155"/>
            <p14:sldId id="2147470526"/>
            <p14:sldId id="2147469651"/>
            <p14:sldId id="2147469780"/>
            <p14:sldId id="2147470527"/>
            <p14:sldId id="2147470528"/>
            <p14:sldId id="2147470529"/>
            <p14:sldId id="2147470530"/>
            <p14:sldId id="2147470531"/>
            <p14:sldId id="2147470532"/>
            <p14:sldId id="2147470533"/>
            <p14:sldId id="2147470534"/>
            <p14:sldId id="2147470535"/>
            <p14:sldId id="2147470536"/>
            <p14:sldId id="2147470537"/>
          </p14:sldIdLst>
        </p14:section>
        <p14:section name="Appendix" id="{42813243-3B9A-4DB0-BD8D-46BA647F641E}">
          <p14:sldIdLst/>
        </p14:section>
      </p14:sectionLst>
    </p:ext>
    <p:ext uri="{EFAFB233-063F-42B5-8137-9DF3F51BA10A}">
      <p15:sldGuideLst xmlns:p15="http://schemas.microsoft.com/office/powerpoint/2012/main">
        <p15:guide id="1" pos="3840" userDrawn="1">
          <p15:clr>
            <a:srgbClr val="A4A3A4"/>
          </p15:clr>
        </p15:guide>
        <p15:guide id="2" pos="872"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BFD64902-E43B-3740-5C52-B1CEB1422D79}" name="Tais O'Dwyer" initials="TO" userId="S::tais.odwyer_microsoft.com#ext#@thespurgroup.onmicrosoft.com::0daec255-3260-444e-ac46-44298f0adce7" providerId="AD"/>
  <p188:author id="{3EDCDF1C-1657-E3EE-78E9-262A048CBFB5}" name="Roni Karassik (SHE/HER)" initials="R(" userId="S::roni.karassik_microsoft.com#ext#@thespurgroup.onmicrosoft.com::1558f001-bf33-406c-8eb0-c6233dda2d87" providerId="AD"/>
  <p188:author id="{6B950F21-FA76-EF22-FDFA-CD273CA30AA3}" name="Daragh Morrissey" initials="DM" userId="S::daraghm@microsoft.com::aeedfabc-503a-42a4-824e-b29f91a6cf8f" providerId="AD"/>
  <p188:author id="{0606C842-C80F-0C77-3058-7EAA7A2BB048}" name="Shilpa Bothra" initials="SB" userId="S::shbothr@microsoft.com::a511fe74-05cf-4fd1-9f2e-d7e7455b74ab" providerId="AD"/>
  <p188:author id="{05DB2C48-0A71-ABFA-5204-EF9F767DC807}" name="Mara Arenson (CELA)" initials="M(" userId="S::marenson@microsoft.com::bef2f0a2-de80-40a8-8d96-6b34c9dc9935" providerId="AD"/>
  <p188:author id="{11BAB94A-8353-D725-008B-3F291831B719}" name="Tom Deprins" initials="TD" userId="S::todeprin@microsoft.com::a06bf4d4-44a0-4d0f-9958-659abaecdafe" providerId="AD"/>
  <p188:author id="{3CB28E4C-F4A4-0F7A-68DF-3990B1A92496}" name="philibri@microsoft.com" initials="ph" userId="S::urn:spo:guest#philibri@microsoft.com::" providerId="AD"/>
  <p188:author id="{A0417659-1DC5-AB61-D9C8-31DA29EC0971}" name="Kevin Horlock" initials="KH" userId="S::kevinho@microsoft.com::e4c34267-6c8b-41af-b68d-c29203c54e88" providerId="AD"/>
  <p188:author id="{CD4DAB66-49BC-0EE9-8CBE-85FA497856D2}" name="Jennifer Nowak" initials="JN" userId="S::jen_microsoft.com#ext#@thespurgroup.onmicrosoft.com::bb42c28e-db3d-46f4-9311-4d88a48621b7" providerId="AD"/>
  <p188:author id="{ACE0249B-3F77-C19F-50B7-B52B3EDC8045}" name="Shilpa Bothra" initials="SB" userId="S::shilpa.bothra_microsoft.com#ext#@thespurgroup.onmicrosoft.com::3f1ab9b5-5d68-4dd0-8383-0d8cb4776652" providerId="AD"/>
  <p188:author id="{F6D5599D-EAC6-5231-96BC-D021084B2CDB}" name="Aaron Krauss" initials="AK" userId="S::aakrauss@microsoft.com::d87202d1-b84a-4bca-88d2-27d19eddb822" providerId="AD"/>
  <p188:author id="{9A57AFAE-3E37-B34E-8C30-9370B4411DC3}" name="Amelia Hooning" initials="AH" userId="S::amelia.hooning@thespurgroup.com::754192fc-b905-43d2-9d0a-ca496ee48daa" providerId="AD"/>
  <p188:author id="{9D66C1B5-4121-A357-21FA-A22F081547EB}" name="rnicolay@microsoft.com" initials="rn" userId="S::urn:spo:guest#rnicolay@microsoft.com::" providerId="AD"/>
  <p188:author id="{2D56F7BE-1E8C-6D82-B968-60DFAF32EDA2}" name="Marla Sofer" initials="MS" userId="S::marlasofer_microsoft.com#ext#@thespurgroup.onmicrosoft.com::aefad72a-fb09-442b-83b3-2c24c6ac6c46" providerId="AD"/>
  <p188:author id="{293AD9C1-C078-16C3-6CD4-61ED8B1FCE77}" name="Adrian Yeoh" initials="" userId="ayeoh@microsoft.com" providerId="O365"/>
  <p188:author id="{AE3BF4C4-2B92-FEC1-5116-7459054D8A08}" name="Lauren" initials="L" userId="S::lauren.eagan@thespurgroup.com::4af2297c-73fa-48e7-8d61-5cbffa2fdc40" providerId="AD"/>
  <p188:author id="{CBD3C0C8-6F92-E257-5012-1E311E71CF78}" name="Sebastian Busche" initials="SB" userId="S::sebusche@microsoft.com::030d7005-9abd-4555-bd5e-20f33cdea905" providerId="AD"/>
  <p188:author id="{3C772AC9-7FF4-01AD-AC4D-1B0632BF3CBB}" name="Roni Karassik (SHE/HER)" initials="RK(" userId="S::ronik@microsoft.com::ce566a42-0be2-4255-a393-a955bda7897d" providerId="AD"/>
  <p188:author id="{9EF4F6CE-EAA9-410F-090B-19D5E551BA1F}" name="Adrian Yeoh" initials="AY" userId="S::ayeoh@microsoft.com::f2a69cbe-21f7-4efb-a7e5-d532b79e54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F3F2F1"/>
    <a:srgbClr val="7030A0"/>
    <a:srgbClr val="ADADAD"/>
    <a:srgbClr val="E6E6E6"/>
    <a:srgbClr val="8661C5"/>
    <a:srgbClr val="023762"/>
    <a:srgbClr val="F8F8F8"/>
    <a:srgbClr val="7C7C7C"/>
    <a:srgbClr val="F2F2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968" autoAdjust="0"/>
  </p:normalViewPr>
  <p:slideViewPr>
    <p:cSldViewPr snapToGrid="0">
      <p:cViewPr varScale="1">
        <p:scale>
          <a:sx n="77" d="100"/>
          <a:sy n="77" d="100"/>
        </p:scale>
        <p:origin x="1878" y="90"/>
      </p:cViewPr>
      <p:guideLst>
        <p:guide pos="3840"/>
        <p:guide pos="872"/>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D8C4C9-1A41-4D00-AD89-A8FAAA3EF03D}"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A0D4D4FF-BADF-4897-B8F7-72F2BC95886F}">
      <dgm:prSet custT="1"/>
      <dgm:spPr>
        <a:xfrm>
          <a:off x="864645" y="498973"/>
          <a:ext cx="2761650" cy="472281"/>
        </a:xfrm>
        <a:prstGeom prst="rect">
          <a:avLst/>
        </a:prstGeom>
        <a:noFill/>
        <a:ln>
          <a:noFill/>
        </a:ln>
        <a:effectLst/>
      </dgm:spPr>
      <dgm:t>
        <a:bodyPr/>
        <a:lstStyle/>
        <a:p>
          <a:pPr>
            <a:lnSpc>
              <a:spcPct val="100000"/>
            </a:lnSpc>
            <a:buNone/>
          </a:pPr>
          <a:r>
            <a:rPr lang="en-US" sz="1600" dirty="0">
              <a:solidFill>
                <a:srgbClr val="000000"/>
              </a:solidFill>
              <a:latin typeface="Segoe UI"/>
              <a:ea typeface="+mn-ea"/>
              <a:cs typeface="+mn-cs"/>
            </a:rPr>
            <a:t>New portal-based experience to simplify industry cloud deployments</a:t>
          </a:r>
        </a:p>
      </dgm:t>
      <dgm:extLst>
        <a:ext uri="{E40237B7-FDA0-4F09-8148-C483321AD2D9}">
          <dgm14:cNvPr xmlns:dgm14="http://schemas.microsoft.com/office/drawing/2010/diagram" id="0" name="" descr="New portal-based experience to simplify industry cloud deployments.  "/>
        </a:ext>
      </dgm:extLst>
    </dgm:pt>
    <dgm:pt modelId="{3FE44D6A-1B9D-4BDD-9E93-890B81772226}" type="parTrans" cxnId="{450BF55B-2CE0-464A-8BDE-0E214429AEB9}">
      <dgm:prSet/>
      <dgm:spPr/>
      <dgm:t>
        <a:bodyPr/>
        <a:lstStyle/>
        <a:p>
          <a:endParaRPr lang="en-US"/>
        </a:p>
      </dgm:t>
    </dgm:pt>
    <dgm:pt modelId="{4811E362-6AB0-4408-B7AF-7797FE7DF2BE}" type="sibTrans" cxnId="{450BF55B-2CE0-464A-8BDE-0E214429AEB9}">
      <dgm:prSet/>
      <dgm:spPr/>
      <dgm:t>
        <a:bodyPr/>
        <a:lstStyle/>
        <a:p>
          <a:pPr>
            <a:lnSpc>
              <a:spcPct val="100000"/>
            </a:lnSpc>
          </a:pPr>
          <a:endParaRPr lang="en-US"/>
        </a:p>
      </dgm:t>
    </dgm:pt>
    <dgm:pt modelId="{C53EF1A8-C232-4050-BB48-676C0220C98C}">
      <dgm:prSet custT="1"/>
      <dgm:spPr>
        <a:xfrm>
          <a:off x="4385884" y="382859"/>
          <a:ext cx="2772199" cy="625822"/>
        </a:xfrm>
        <a:prstGeom prst="rect">
          <a:avLst/>
        </a:prstGeom>
        <a:noFill/>
        <a:ln>
          <a:noFill/>
        </a:ln>
        <a:effectLst/>
      </dgm:spPr>
      <dgm:t>
        <a:bodyPr/>
        <a:lstStyle/>
        <a:p>
          <a:pPr>
            <a:lnSpc>
              <a:spcPct val="100000"/>
            </a:lnSpc>
            <a:buNone/>
          </a:pPr>
          <a:r>
            <a:rPr lang="en-US" sz="1600" dirty="0">
              <a:solidFill>
                <a:srgbClr val="000000"/>
              </a:solidFill>
              <a:latin typeface="Segoe UI"/>
              <a:ea typeface="+mn-ea"/>
              <a:cs typeface="+mn-cs"/>
            </a:rPr>
            <a:t>In-built licensing and pre-requisite checks to simplify deployment process</a:t>
          </a:r>
        </a:p>
      </dgm:t>
    </dgm:pt>
    <dgm:pt modelId="{C81F9958-8650-4B10-8CF9-E23039AC03F7}" type="parTrans" cxnId="{4561D2EC-770C-4B6C-B240-5D92C589E010}">
      <dgm:prSet/>
      <dgm:spPr/>
      <dgm:t>
        <a:bodyPr/>
        <a:lstStyle/>
        <a:p>
          <a:endParaRPr lang="en-US"/>
        </a:p>
      </dgm:t>
    </dgm:pt>
    <dgm:pt modelId="{B503C9B0-9E6F-437D-9CC9-0C6B1DBF9B47}" type="sibTrans" cxnId="{4561D2EC-770C-4B6C-B240-5D92C589E010}">
      <dgm:prSet/>
      <dgm:spPr/>
      <dgm:t>
        <a:bodyPr/>
        <a:lstStyle/>
        <a:p>
          <a:pPr>
            <a:lnSpc>
              <a:spcPct val="100000"/>
            </a:lnSpc>
          </a:pPr>
          <a:endParaRPr lang="en-US"/>
        </a:p>
      </dgm:t>
    </dgm:pt>
    <dgm:pt modelId="{F966A06E-D700-49EE-AA06-51C3581980FA}">
      <dgm:prSet custT="1"/>
      <dgm:spPr>
        <a:xfrm>
          <a:off x="7955614" y="447922"/>
          <a:ext cx="3280085" cy="592602"/>
        </a:xfrm>
        <a:prstGeom prst="rect">
          <a:avLst/>
        </a:prstGeom>
        <a:noFill/>
        <a:ln>
          <a:noFill/>
        </a:ln>
        <a:effectLst/>
      </dgm:spPr>
      <dgm:t>
        <a:bodyPr/>
        <a:lstStyle/>
        <a:p>
          <a:pPr>
            <a:lnSpc>
              <a:spcPct val="100000"/>
            </a:lnSpc>
            <a:buNone/>
          </a:pPr>
          <a:r>
            <a:rPr lang="en-US" sz="1600" dirty="0">
              <a:solidFill>
                <a:srgbClr val="000000"/>
              </a:solidFill>
              <a:latin typeface="Segoe UI"/>
              <a:ea typeface="+mn-ea"/>
              <a:cs typeface="+mn-cs"/>
            </a:rPr>
            <a:t>Unified deployment and configuration experience across multiple lines of apps</a:t>
          </a:r>
        </a:p>
      </dgm:t>
    </dgm:pt>
    <dgm:pt modelId="{6B19D34C-3F57-4CA4-ABBA-C9EED7E9B421}" type="parTrans" cxnId="{1F6DE9CD-F123-41CB-800E-47E3A8BE3ED1}">
      <dgm:prSet/>
      <dgm:spPr/>
      <dgm:t>
        <a:bodyPr/>
        <a:lstStyle/>
        <a:p>
          <a:endParaRPr lang="en-US"/>
        </a:p>
      </dgm:t>
    </dgm:pt>
    <dgm:pt modelId="{71A2FD33-B393-43A4-8520-3C8597423D75}" type="sibTrans" cxnId="{1F6DE9CD-F123-41CB-800E-47E3A8BE3ED1}">
      <dgm:prSet/>
      <dgm:spPr/>
      <dgm:t>
        <a:bodyPr/>
        <a:lstStyle/>
        <a:p>
          <a:endParaRPr lang="en-US"/>
        </a:p>
      </dgm:t>
    </dgm:pt>
    <dgm:pt modelId="{4D810329-B7ED-4F61-8B5A-8454E6F63BB7}" type="pres">
      <dgm:prSet presAssocID="{45D8C4C9-1A41-4D00-AD89-A8FAAA3EF03D}" presName="root" presStyleCnt="0">
        <dgm:presLayoutVars>
          <dgm:dir/>
          <dgm:resizeHandles val="exact"/>
        </dgm:presLayoutVars>
      </dgm:prSet>
      <dgm:spPr/>
    </dgm:pt>
    <dgm:pt modelId="{1D1BE2C4-CFB3-4442-8856-C8E3F6CAB8A9}" type="pres">
      <dgm:prSet presAssocID="{45D8C4C9-1A41-4D00-AD89-A8FAAA3EF03D}" presName="container" presStyleCnt="0">
        <dgm:presLayoutVars>
          <dgm:dir/>
          <dgm:resizeHandles val="exact"/>
        </dgm:presLayoutVars>
      </dgm:prSet>
      <dgm:spPr/>
    </dgm:pt>
    <dgm:pt modelId="{BE94AF8A-3F69-44C5-885D-21178C1F65F6}" type="pres">
      <dgm:prSet presAssocID="{A0D4D4FF-BADF-4897-B8F7-72F2BC95886F}" presName="compNode" presStyleCnt="0"/>
      <dgm:spPr/>
    </dgm:pt>
    <dgm:pt modelId="{991020F1-96DF-4B28-A917-010A1B217855}" type="pres">
      <dgm:prSet presAssocID="{A0D4D4FF-BADF-4897-B8F7-72F2BC95886F}" presName="iconBgRect" presStyleLbl="bgShp" presStyleIdx="0" presStyleCnt="3" custLinFactX="-100000" custLinFactNeighborX="-129138" custLinFactNeighborY="-20277"/>
      <dgm:spPr>
        <a:xfrm>
          <a:off x="253615" y="423484"/>
          <a:ext cx="511481" cy="511481"/>
        </a:xfrm>
        <a:prstGeom prst="ellipse">
          <a:avLst/>
        </a:prstGeom>
        <a:solidFill>
          <a:srgbClr val="FFFFFF"/>
        </a:solidFill>
        <a:ln>
          <a:noFill/>
        </a:ln>
        <a:effectLst/>
      </dgm:spPr>
    </dgm:pt>
    <dgm:pt modelId="{F4034F14-36CB-445B-87DA-78AE1EA0D62A}" type="pres">
      <dgm:prSet presAssocID="{A0D4D4FF-BADF-4897-B8F7-72F2BC95886F}" presName="iconRect" presStyleLbl="node1" presStyleIdx="0" presStyleCnt="3" custLinFactX="-193909" custLinFactNeighborX="-200000" custLinFactNeighborY="-43332"/>
      <dgm:spPr>
        <a:xfrm>
          <a:off x="364457" y="506060"/>
          <a:ext cx="296659" cy="29665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rgbClr val="FFFFFF">
              <a:hueOff val="0"/>
              <a:satOff val="0"/>
              <a:lumOff val="0"/>
              <a:alphaOff val="0"/>
            </a:srgbClr>
          </a:solidFill>
          <a:prstDash val="solid"/>
        </a:ln>
        <a:effectLst/>
      </dgm:spPr>
      <dgm:extLst>
        <a:ext uri="{E40237B7-FDA0-4F09-8148-C483321AD2D9}">
          <dgm14:cNvPr xmlns:dgm14="http://schemas.microsoft.com/office/drawing/2010/diagram" id="0" name="" descr="Cloud"/>
        </a:ext>
      </dgm:extLst>
    </dgm:pt>
    <dgm:pt modelId="{EC3B8D67-67A3-4EE1-B609-A2ADA0479171}" type="pres">
      <dgm:prSet presAssocID="{A0D4D4FF-BADF-4897-B8F7-72F2BC95886F}" presName="spaceRect" presStyleCnt="0"/>
      <dgm:spPr/>
    </dgm:pt>
    <dgm:pt modelId="{B9310A34-78AB-4DD7-A4A6-21F4E24F2F3F}" type="pres">
      <dgm:prSet presAssocID="{A0D4D4FF-BADF-4897-B8F7-72F2BC95886F}" presName="textRect" presStyleLbl="revTx" presStyleIdx="0" presStyleCnt="3" custScaleX="229062" custScaleY="92336" custLinFactNeighborX="-33513" custLinFactNeighborY="-9350">
        <dgm:presLayoutVars>
          <dgm:chMax val="1"/>
          <dgm:chPref val="1"/>
        </dgm:presLayoutVars>
      </dgm:prSet>
      <dgm:spPr/>
    </dgm:pt>
    <dgm:pt modelId="{D737984E-62D2-4774-9BFB-D996776DE687}" type="pres">
      <dgm:prSet presAssocID="{4811E362-6AB0-4408-B7AF-7797FE7DF2BE}" presName="sibTrans" presStyleLbl="sibTrans2D1" presStyleIdx="0" presStyleCnt="0"/>
      <dgm:spPr/>
    </dgm:pt>
    <dgm:pt modelId="{42A97C3F-620B-4F4E-ACD5-DF4C4EF60C39}" type="pres">
      <dgm:prSet presAssocID="{C53EF1A8-C232-4050-BB48-676C0220C98C}" presName="compNode" presStyleCnt="0"/>
      <dgm:spPr/>
    </dgm:pt>
    <dgm:pt modelId="{23A271B2-F5D2-44E0-980F-495BE1D238CA}" type="pres">
      <dgm:prSet presAssocID="{C53EF1A8-C232-4050-BB48-676C0220C98C}" presName="iconBgRect" presStyleLbl="bgShp" presStyleIdx="1" presStyleCnt="3" custLinFactX="-41618" custLinFactNeighborX="-100000" custLinFactNeighborY="-12951"/>
      <dgm:spPr>
        <a:xfrm>
          <a:off x="3678261" y="460955"/>
          <a:ext cx="511481" cy="511481"/>
        </a:xfrm>
        <a:prstGeom prst="ellipse">
          <a:avLst/>
        </a:prstGeom>
        <a:solidFill>
          <a:srgbClr val="FFFFFF"/>
        </a:solidFill>
        <a:ln>
          <a:noFill/>
        </a:ln>
        <a:effectLst/>
      </dgm:spPr>
    </dgm:pt>
    <dgm:pt modelId="{26898B01-7877-42BB-A7B4-BF8998960A50}" type="pres">
      <dgm:prSet presAssocID="{C53EF1A8-C232-4050-BB48-676C0220C98C}" presName="iconRect" presStyleLbl="node1" presStyleIdx="1" presStyleCnt="3" custLinFactX="-100000" custLinFactNeighborX="-144170" custLinFactNeighborY="-22330"/>
      <dgm:spPr>
        <a:xfrm>
          <a:off x="3785669" y="568364"/>
          <a:ext cx="296659" cy="29665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solidFill>
            <a:srgbClr val="FFFFFF">
              <a:hueOff val="0"/>
              <a:satOff val="0"/>
              <a:lumOff val="0"/>
              <a:alphaOff val="0"/>
            </a:srgbClr>
          </a:solidFill>
          <a:prstDash val="solid"/>
        </a:ln>
        <a:effectLst/>
      </dgm:spPr>
      <dgm:extLst>
        <a:ext uri="{E40237B7-FDA0-4F09-8148-C483321AD2D9}">
          <dgm14:cNvPr xmlns:dgm14="http://schemas.microsoft.com/office/drawing/2010/diagram" id="0" name="" descr="Checkmark"/>
        </a:ext>
      </dgm:extLst>
    </dgm:pt>
    <dgm:pt modelId="{D6A59F41-5C00-488C-ACBA-118639D4E38D}" type="pres">
      <dgm:prSet presAssocID="{C53EF1A8-C232-4050-BB48-676C0220C98C}" presName="spaceRect" presStyleCnt="0"/>
      <dgm:spPr/>
    </dgm:pt>
    <dgm:pt modelId="{B103F6C4-7F58-44AD-A62A-553CBDFC44F1}" type="pres">
      <dgm:prSet presAssocID="{C53EF1A8-C232-4050-BB48-676C0220C98C}" presName="textRect" presStyleLbl="revTx" presStyleIdx="1" presStyleCnt="3" custScaleX="229937" custScaleY="122355" custLinFactNeighborX="12066" custLinFactNeighborY="-17042">
        <dgm:presLayoutVars>
          <dgm:chMax val="1"/>
          <dgm:chPref val="1"/>
        </dgm:presLayoutVars>
      </dgm:prSet>
      <dgm:spPr/>
    </dgm:pt>
    <dgm:pt modelId="{2799974E-70E4-4F6D-A59B-B2F54E142925}" type="pres">
      <dgm:prSet presAssocID="{B503C9B0-9E6F-437D-9CC9-0C6B1DBF9B47}" presName="sibTrans" presStyleLbl="sibTrans2D1" presStyleIdx="0" presStyleCnt="0"/>
      <dgm:spPr/>
    </dgm:pt>
    <dgm:pt modelId="{7B584522-1D7E-4477-ACED-119B8DA42166}" type="pres">
      <dgm:prSet presAssocID="{F966A06E-D700-49EE-AA06-51C3581980FA}" presName="compNode" presStyleCnt="0"/>
      <dgm:spPr/>
    </dgm:pt>
    <dgm:pt modelId="{EA929762-9A55-4EB8-B692-EDA80A2C6995}" type="pres">
      <dgm:prSet presAssocID="{F966A06E-D700-49EE-AA06-51C3581980FA}" presName="iconBgRect" presStyleLbl="bgShp" presStyleIdx="2" presStyleCnt="3" custLinFactNeighborX="-67718" custLinFactNeighborY="-13182"/>
      <dgm:spPr>
        <a:xfrm>
          <a:off x="7292461" y="459773"/>
          <a:ext cx="511481" cy="511481"/>
        </a:xfrm>
        <a:prstGeom prst="ellipse">
          <a:avLst/>
        </a:prstGeom>
        <a:solidFill>
          <a:srgbClr val="FFFFFF"/>
        </a:solidFill>
        <a:ln>
          <a:noFill/>
        </a:ln>
        <a:effectLst/>
      </dgm:spPr>
    </dgm:pt>
    <dgm:pt modelId="{76526658-A2E6-42CE-8405-BD5DDB27D889}" type="pres">
      <dgm:prSet presAssocID="{F966A06E-D700-49EE-AA06-51C3581980FA}" presName="iconRect" presStyleLbl="node1" presStyleIdx="2" presStyleCnt="3" custLinFactX="-16755" custLinFactNeighborX="-100000" custLinFactNeighborY="-22731"/>
      <dgm:spPr>
        <a:xfrm>
          <a:off x="7399872" y="567174"/>
          <a:ext cx="296659" cy="29665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solidFill>
            <a:srgbClr val="FFFFFF">
              <a:hueOff val="0"/>
              <a:satOff val="0"/>
              <a:lumOff val="0"/>
              <a:alphaOff val="0"/>
            </a:srgbClr>
          </a:solidFill>
          <a:prstDash val="solid"/>
        </a:ln>
        <a:effectLst/>
      </dgm:spPr>
      <dgm:extLst>
        <a:ext uri="{E40237B7-FDA0-4F09-8148-C483321AD2D9}">
          <dgm14:cNvPr xmlns:dgm14="http://schemas.microsoft.com/office/drawing/2010/diagram" id="0" name="" descr="User"/>
        </a:ext>
      </dgm:extLst>
    </dgm:pt>
    <dgm:pt modelId="{17C5AD29-C796-4F5E-81DA-18ECE8D9CA90}" type="pres">
      <dgm:prSet presAssocID="{F966A06E-D700-49EE-AA06-51C3581980FA}" presName="spaceRect" presStyleCnt="0"/>
      <dgm:spPr/>
    </dgm:pt>
    <dgm:pt modelId="{5F02B5E6-309E-4174-B904-2D4B464A16ED}" type="pres">
      <dgm:prSet presAssocID="{F966A06E-D700-49EE-AA06-51C3581980FA}" presName="textRect" presStyleLbl="revTx" presStyleIdx="2" presStyleCnt="3" custScaleX="272063" custScaleY="115860" custLinFactNeighborX="60792" custLinFactNeighborY="-7569">
        <dgm:presLayoutVars>
          <dgm:chMax val="1"/>
          <dgm:chPref val="1"/>
        </dgm:presLayoutVars>
      </dgm:prSet>
      <dgm:spPr/>
    </dgm:pt>
  </dgm:ptLst>
  <dgm:cxnLst>
    <dgm:cxn modelId="{E918892D-F571-4BBB-BC5E-DC576E0D4E42}" type="presOf" srcId="{F966A06E-D700-49EE-AA06-51C3581980FA}" destId="{5F02B5E6-309E-4174-B904-2D4B464A16ED}" srcOrd="0" destOrd="0" presId="urn:microsoft.com/office/officeart/2018/2/layout/IconCircleList"/>
    <dgm:cxn modelId="{450BF55B-2CE0-464A-8BDE-0E214429AEB9}" srcId="{45D8C4C9-1A41-4D00-AD89-A8FAAA3EF03D}" destId="{A0D4D4FF-BADF-4897-B8F7-72F2BC95886F}" srcOrd="0" destOrd="0" parTransId="{3FE44D6A-1B9D-4BDD-9E93-890B81772226}" sibTransId="{4811E362-6AB0-4408-B7AF-7797FE7DF2BE}"/>
    <dgm:cxn modelId="{97D40F61-FDBC-4F7F-B05A-1E8964389954}" type="presOf" srcId="{C53EF1A8-C232-4050-BB48-676C0220C98C}" destId="{B103F6C4-7F58-44AD-A62A-553CBDFC44F1}" srcOrd="0" destOrd="0" presId="urn:microsoft.com/office/officeart/2018/2/layout/IconCircleList"/>
    <dgm:cxn modelId="{91E2B741-C8A2-4B32-B380-CA0E0E2DB215}" type="presOf" srcId="{A0D4D4FF-BADF-4897-B8F7-72F2BC95886F}" destId="{B9310A34-78AB-4DD7-A4A6-21F4E24F2F3F}" srcOrd="0" destOrd="0" presId="urn:microsoft.com/office/officeart/2018/2/layout/IconCircleList"/>
    <dgm:cxn modelId="{882D98A7-5D81-4D04-ADCB-1EFD9A0F0FD2}" type="presOf" srcId="{4811E362-6AB0-4408-B7AF-7797FE7DF2BE}" destId="{D737984E-62D2-4774-9BFB-D996776DE687}" srcOrd="0" destOrd="0" presId="urn:microsoft.com/office/officeart/2018/2/layout/IconCircleList"/>
    <dgm:cxn modelId="{DAFB76B4-773E-4D6B-AF1F-3418D35E2D1A}" type="presOf" srcId="{B503C9B0-9E6F-437D-9CC9-0C6B1DBF9B47}" destId="{2799974E-70E4-4F6D-A59B-B2F54E142925}" srcOrd="0" destOrd="0" presId="urn:microsoft.com/office/officeart/2018/2/layout/IconCircleList"/>
    <dgm:cxn modelId="{66CC95B7-6C22-4240-A0A8-297A28F4B36B}" type="presOf" srcId="{45D8C4C9-1A41-4D00-AD89-A8FAAA3EF03D}" destId="{4D810329-B7ED-4F61-8B5A-8454E6F63BB7}" srcOrd="0" destOrd="0" presId="urn:microsoft.com/office/officeart/2018/2/layout/IconCircleList"/>
    <dgm:cxn modelId="{1F6DE9CD-F123-41CB-800E-47E3A8BE3ED1}" srcId="{45D8C4C9-1A41-4D00-AD89-A8FAAA3EF03D}" destId="{F966A06E-D700-49EE-AA06-51C3581980FA}" srcOrd="2" destOrd="0" parTransId="{6B19D34C-3F57-4CA4-ABBA-C9EED7E9B421}" sibTransId="{71A2FD33-B393-43A4-8520-3C8597423D75}"/>
    <dgm:cxn modelId="{4561D2EC-770C-4B6C-B240-5D92C589E010}" srcId="{45D8C4C9-1A41-4D00-AD89-A8FAAA3EF03D}" destId="{C53EF1A8-C232-4050-BB48-676C0220C98C}" srcOrd="1" destOrd="0" parTransId="{C81F9958-8650-4B10-8CF9-E23039AC03F7}" sibTransId="{B503C9B0-9E6F-437D-9CC9-0C6B1DBF9B47}"/>
    <dgm:cxn modelId="{9010397B-95B3-4D40-919E-5B3CA2A0B342}" type="presParOf" srcId="{4D810329-B7ED-4F61-8B5A-8454E6F63BB7}" destId="{1D1BE2C4-CFB3-4442-8856-C8E3F6CAB8A9}" srcOrd="0" destOrd="0" presId="urn:microsoft.com/office/officeart/2018/2/layout/IconCircleList"/>
    <dgm:cxn modelId="{363E7290-7D72-4AA8-AD64-D26D08D3602B}" type="presParOf" srcId="{1D1BE2C4-CFB3-4442-8856-C8E3F6CAB8A9}" destId="{BE94AF8A-3F69-44C5-885D-21178C1F65F6}" srcOrd="0" destOrd="0" presId="urn:microsoft.com/office/officeart/2018/2/layout/IconCircleList"/>
    <dgm:cxn modelId="{49A33AEB-419B-4FDD-A63F-2414360C712D}" type="presParOf" srcId="{BE94AF8A-3F69-44C5-885D-21178C1F65F6}" destId="{991020F1-96DF-4B28-A917-010A1B217855}" srcOrd="0" destOrd="0" presId="urn:microsoft.com/office/officeart/2018/2/layout/IconCircleList"/>
    <dgm:cxn modelId="{5935024F-D96B-4AE7-A7A8-363494A66E59}" type="presParOf" srcId="{BE94AF8A-3F69-44C5-885D-21178C1F65F6}" destId="{F4034F14-36CB-445B-87DA-78AE1EA0D62A}" srcOrd="1" destOrd="0" presId="urn:microsoft.com/office/officeart/2018/2/layout/IconCircleList"/>
    <dgm:cxn modelId="{1487A877-F06E-417D-9D87-BFA948C5EAE6}" type="presParOf" srcId="{BE94AF8A-3F69-44C5-885D-21178C1F65F6}" destId="{EC3B8D67-67A3-4EE1-B609-A2ADA0479171}" srcOrd="2" destOrd="0" presId="urn:microsoft.com/office/officeart/2018/2/layout/IconCircleList"/>
    <dgm:cxn modelId="{E1E2656B-2056-4368-BB25-F09624EAF354}" type="presParOf" srcId="{BE94AF8A-3F69-44C5-885D-21178C1F65F6}" destId="{B9310A34-78AB-4DD7-A4A6-21F4E24F2F3F}" srcOrd="3" destOrd="0" presId="urn:microsoft.com/office/officeart/2018/2/layout/IconCircleList"/>
    <dgm:cxn modelId="{A3E38059-543E-48AA-9C67-49ABADB3CDD9}" type="presParOf" srcId="{1D1BE2C4-CFB3-4442-8856-C8E3F6CAB8A9}" destId="{D737984E-62D2-4774-9BFB-D996776DE687}" srcOrd="1" destOrd="0" presId="urn:microsoft.com/office/officeart/2018/2/layout/IconCircleList"/>
    <dgm:cxn modelId="{EE31F98B-A9D5-48CD-AD61-D74763B2C33D}" type="presParOf" srcId="{1D1BE2C4-CFB3-4442-8856-C8E3F6CAB8A9}" destId="{42A97C3F-620B-4F4E-ACD5-DF4C4EF60C39}" srcOrd="2" destOrd="0" presId="urn:microsoft.com/office/officeart/2018/2/layout/IconCircleList"/>
    <dgm:cxn modelId="{32B4D5B3-2E0B-4639-8F18-7F6FE02913EF}" type="presParOf" srcId="{42A97C3F-620B-4F4E-ACD5-DF4C4EF60C39}" destId="{23A271B2-F5D2-44E0-980F-495BE1D238CA}" srcOrd="0" destOrd="0" presId="urn:microsoft.com/office/officeart/2018/2/layout/IconCircleList"/>
    <dgm:cxn modelId="{98050E84-FB30-4B0A-BF30-5159FF2A6B11}" type="presParOf" srcId="{42A97C3F-620B-4F4E-ACD5-DF4C4EF60C39}" destId="{26898B01-7877-42BB-A7B4-BF8998960A50}" srcOrd="1" destOrd="0" presId="urn:microsoft.com/office/officeart/2018/2/layout/IconCircleList"/>
    <dgm:cxn modelId="{DF23EC1A-CE14-47D7-9216-374B34E08E24}" type="presParOf" srcId="{42A97C3F-620B-4F4E-ACD5-DF4C4EF60C39}" destId="{D6A59F41-5C00-488C-ACBA-118639D4E38D}" srcOrd="2" destOrd="0" presId="urn:microsoft.com/office/officeart/2018/2/layout/IconCircleList"/>
    <dgm:cxn modelId="{A3F6812C-1B88-4D81-A24E-D5132E1BE2F0}" type="presParOf" srcId="{42A97C3F-620B-4F4E-ACD5-DF4C4EF60C39}" destId="{B103F6C4-7F58-44AD-A62A-553CBDFC44F1}" srcOrd="3" destOrd="0" presId="urn:microsoft.com/office/officeart/2018/2/layout/IconCircleList"/>
    <dgm:cxn modelId="{9898F3B2-3CB4-4A55-A08D-3C0C2E91F2F4}" type="presParOf" srcId="{1D1BE2C4-CFB3-4442-8856-C8E3F6CAB8A9}" destId="{2799974E-70E4-4F6D-A59B-B2F54E142925}" srcOrd="3" destOrd="0" presId="urn:microsoft.com/office/officeart/2018/2/layout/IconCircleList"/>
    <dgm:cxn modelId="{B4FD3C0E-0CA5-4AC4-A18B-89BC5B108143}" type="presParOf" srcId="{1D1BE2C4-CFB3-4442-8856-C8E3F6CAB8A9}" destId="{7B584522-1D7E-4477-ACED-119B8DA42166}" srcOrd="4" destOrd="0" presId="urn:microsoft.com/office/officeart/2018/2/layout/IconCircleList"/>
    <dgm:cxn modelId="{52CFC105-BE78-4836-8D94-50AE44291CCB}" type="presParOf" srcId="{7B584522-1D7E-4477-ACED-119B8DA42166}" destId="{EA929762-9A55-4EB8-B692-EDA80A2C6995}" srcOrd="0" destOrd="0" presId="urn:microsoft.com/office/officeart/2018/2/layout/IconCircleList"/>
    <dgm:cxn modelId="{FD8B87A1-2557-4390-BAD0-5786540D4438}" type="presParOf" srcId="{7B584522-1D7E-4477-ACED-119B8DA42166}" destId="{76526658-A2E6-42CE-8405-BD5DDB27D889}" srcOrd="1" destOrd="0" presId="urn:microsoft.com/office/officeart/2018/2/layout/IconCircleList"/>
    <dgm:cxn modelId="{3EE6CAD9-35F7-4BBD-8515-AEA9A3D8DC89}" type="presParOf" srcId="{7B584522-1D7E-4477-ACED-119B8DA42166}" destId="{17C5AD29-C796-4F5E-81DA-18ECE8D9CA90}" srcOrd="2" destOrd="0" presId="urn:microsoft.com/office/officeart/2018/2/layout/IconCircleList"/>
    <dgm:cxn modelId="{8FC44121-F5A1-453B-A463-67A0522D99FC}" type="presParOf" srcId="{7B584522-1D7E-4477-ACED-119B8DA42166}" destId="{5F02B5E6-309E-4174-B904-2D4B464A16ED}"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F37A5C-D8E4-4902-BA75-8F6E1369E301}" type="doc">
      <dgm:prSet loTypeId="urn:microsoft.com/office/officeart/2005/8/layout/hList1" loCatId="list" qsTypeId="urn:microsoft.com/office/officeart/2005/8/quickstyle/simple3" qsCatId="simple" csTypeId="urn:microsoft.com/office/officeart/2005/8/colors/accent5_2" csCatId="accent5" phldr="1"/>
      <dgm:spPr/>
      <dgm:t>
        <a:bodyPr/>
        <a:lstStyle/>
        <a:p>
          <a:endParaRPr lang="en-US"/>
        </a:p>
      </dgm:t>
    </dgm:pt>
    <dgm:pt modelId="{882B6A9E-B2AD-4C95-B1B2-F3FB5D287051}">
      <dgm:prSet phldrT="[Text]" custT="1"/>
      <dgm:spPr>
        <a:xfrm>
          <a:off x="3819"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gm:spPr>
      <dgm:t>
        <a:bodyPr/>
        <a:lstStyle/>
        <a:p>
          <a:pPr>
            <a:buNone/>
          </a:pPr>
          <a:r>
            <a:rPr lang="en-US" sz="1400" dirty="0">
              <a:solidFill>
                <a:sysClr val="windowText" lastClr="000000"/>
              </a:solidFill>
              <a:latin typeface="Calibri" panose="020F0502020204030204"/>
              <a:ea typeface="+mn-ea"/>
              <a:cs typeface="+mn-cs"/>
            </a:rPr>
            <a:t>Financial Services Data Model</a:t>
          </a:r>
        </a:p>
      </dgm:t>
    </dgm:pt>
    <dgm:pt modelId="{87BEC531-7355-40FF-898E-CA7A13E734EF}" type="parTrans" cxnId="{E073BE29-46D8-4BF7-B4AD-DACE55E59B7B}">
      <dgm:prSet/>
      <dgm:spPr/>
      <dgm:t>
        <a:bodyPr/>
        <a:lstStyle/>
        <a:p>
          <a:endParaRPr lang="en-US"/>
        </a:p>
      </dgm:t>
    </dgm:pt>
    <dgm:pt modelId="{BE1D23A2-F909-4257-8FE8-503906937B46}" type="sibTrans" cxnId="{E073BE29-46D8-4BF7-B4AD-DACE55E59B7B}">
      <dgm:prSet/>
      <dgm:spPr/>
      <dgm:t>
        <a:bodyPr/>
        <a:lstStyle/>
        <a:p>
          <a:endParaRPr lang="en-US"/>
        </a:p>
      </dgm:t>
    </dgm:pt>
    <dgm:pt modelId="{9618CA27-2E2F-42B4-B10F-E9443F613345}">
      <dgm:prSet phldrT="[Text]" custT="1"/>
      <dgm:spPr>
        <a:xfrm>
          <a:off x="3819"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t>
        <a:bodyPr/>
        <a:lstStyle/>
        <a:p>
          <a:pPr>
            <a:buChar char="•"/>
          </a:pPr>
          <a:r>
            <a:rPr lang="en-US" sz="1200" dirty="0">
              <a:solidFill>
                <a:sysClr val="windowText" lastClr="000000">
                  <a:hueOff val="0"/>
                  <a:satOff val="0"/>
                  <a:lumOff val="0"/>
                  <a:alphaOff val="0"/>
                </a:sysClr>
              </a:solidFill>
              <a:latin typeface="Calibri" panose="020F0502020204030204"/>
              <a:ea typeface="+mn-ea"/>
              <a:cs typeface="+mn-cs"/>
            </a:rPr>
            <a:t>No additional dependencies</a:t>
          </a:r>
        </a:p>
      </dgm:t>
    </dgm:pt>
    <dgm:pt modelId="{B6E72DF1-C1F0-447D-811C-9DEDAC1B54EC}" type="parTrans" cxnId="{A5A5357C-4842-4090-9A4A-9EB844E25F95}">
      <dgm:prSet/>
      <dgm:spPr/>
      <dgm:t>
        <a:bodyPr/>
        <a:lstStyle/>
        <a:p>
          <a:endParaRPr lang="en-US"/>
        </a:p>
      </dgm:t>
    </dgm:pt>
    <dgm:pt modelId="{B50521E0-5F4C-4067-BD7F-E1E3613D9BA6}" type="sibTrans" cxnId="{A5A5357C-4842-4090-9A4A-9EB844E25F95}">
      <dgm:prSet/>
      <dgm:spPr/>
      <dgm:t>
        <a:bodyPr/>
        <a:lstStyle/>
        <a:p>
          <a:endParaRPr lang="en-US"/>
        </a:p>
      </dgm:t>
    </dgm:pt>
    <dgm:pt modelId="{9CD893E5-A3C6-4AEA-BA61-C5595BC0FDA6}">
      <dgm:prSet phldrT="[Text]" custT="1"/>
      <dgm:spPr>
        <a:xfrm>
          <a:off x="1672772"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gm:spPr>
      <dgm:t>
        <a:bodyPr/>
        <a:lstStyle/>
        <a:p>
          <a:pPr>
            <a:buNone/>
          </a:pPr>
          <a:r>
            <a:rPr lang="en-US" sz="1400" dirty="0">
              <a:solidFill>
                <a:sysClr val="windowText" lastClr="000000"/>
              </a:solidFill>
              <a:latin typeface="Calibri" panose="020F0502020204030204"/>
              <a:ea typeface="+mn-ea"/>
              <a:cs typeface="+mn-cs"/>
            </a:rPr>
            <a:t>Unified Customer Profile</a:t>
          </a:r>
        </a:p>
      </dgm:t>
    </dgm:pt>
    <dgm:pt modelId="{F2082CB3-CB79-4825-A75D-FD84BC4EBEFC}" type="parTrans" cxnId="{4B2E465B-0333-4E5A-A652-EDF46479C233}">
      <dgm:prSet/>
      <dgm:spPr/>
      <dgm:t>
        <a:bodyPr/>
        <a:lstStyle/>
        <a:p>
          <a:endParaRPr lang="en-US"/>
        </a:p>
      </dgm:t>
    </dgm:pt>
    <dgm:pt modelId="{5445644C-4ED1-4675-81BD-2775B0DB6221}" type="sibTrans" cxnId="{4B2E465B-0333-4E5A-A652-EDF46479C233}">
      <dgm:prSet/>
      <dgm:spPr/>
      <dgm:t>
        <a:bodyPr/>
        <a:lstStyle/>
        <a:p>
          <a:endParaRPr lang="en-US"/>
        </a:p>
      </dgm:t>
    </dgm:pt>
    <dgm:pt modelId="{8D84372F-993D-48A5-8E94-68B7207D7D97}">
      <dgm:prSet phldrT="[Text]" custT="1"/>
      <dgm:spPr>
        <a:xfrm>
          <a:off x="1672772"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t>
        <a:bodyPr/>
        <a:lstStyle/>
        <a:p>
          <a:pPr>
            <a:buChar char="•"/>
          </a:pPr>
          <a:r>
            <a:rPr lang="en-US" sz="1200" dirty="0">
              <a:solidFill>
                <a:sysClr val="windowText" lastClr="000000">
                  <a:hueOff val="0"/>
                  <a:satOff val="0"/>
                  <a:lumOff val="0"/>
                  <a:alphaOff val="0"/>
                </a:sysClr>
              </a:solidFill>
              <a:latin typeface="Calibri" panose="020F0502020204030204"/>
              <a:ea typeface="+mn-ea"/>
              <a:cs typeface="+mn-cs"/>
            </a:rPr>
            <a:t>Power Apps</a:t>
          </a:r>
        </a:p>
      </dgm:t>
    </dgm:pt>
    <dgm:pt modelId="{C6CFE90E-B5EC-444B-91D2-AAFF1F8B2FF6}" type="parTrans" cxnId="{810B523D-6968-4C2A-9D4E-F7AA9F1D9B9E}">
      <dgm:prSet/>
      <dgm:spPr/>
      <dgm:t>
        <a:bodyPr/>
        <a:lstStyle/>
        <a:p>
          <a:endParaRPr lang="en-US"/>
        </a:p>
      </dgm:t>
    </dgm:pt>
    <dgm:pt modelId="{F39222CB-4C8C-45A9-832B-2311DDEE2E31}" type="sibTrans" cxnId="{810B523D-6968-4C2A-9D4E-F7AA9F1D9B9E}">
      <dgm:prSet/>
      <dgm:spPr/>
      <dgm:t>
        <a:bodyPr/>
        <a:lstStyle/>
        <a:p>
          <a:endParaRPr lang="en-US"/>
        </a:p>
      </dgm:t>
    </dgm:pt>
    <dgm:pt modelId="{7B0ABC2B-443D-4E26-BE59-5A5A3B4BB5BE}">
      <dgm:prSet phldrT="[Text]" custT="1"/>
      <dgm:spPr>
        <a:xfrm>
          <a:off x="6679634"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gm:spPr>
      <dgm:t>
        <a:bodyPr/>
        <a:lstStyle/>
        <a:p>
          <a:pPr>
            <a:buNone/>
          </a:pPr>
          <a:r>
            <a:rPr lang="en-US" sz="1400" dirty="0">
              <a:solidFill>
                <a:sysClr val="windowText" lastClr="000000"/>
              </a:solidFill>
              <a:latin typeface="Calibri" panose="020F0502020204030204"/>
              <a:ea typeface="+mn-ea"/>
              <a:cs typeface="+mn-cs"/>
            </a:rPr>
            <a:t>Account and purchase Protection</a:t>
          </a:r>
        </a:p>
      </dgm:t>
    </dgm:pt>
    <dgm:pt modelId="{B1ED942F-7AB5-4A79-8759-C0533FB429B9}" type="parTrans" cxnId="{C7436B97-EA16-4B03-B738-9E2C6117695F}">
      <dgm:prSet/>
      <dgm:spPr/>
      <dgm:t>
        <a:bodyPr/>
        <a:lstStyle/>
        <a:p>
          <a:endParaRPr lang="en-US"/>
        </a:p>
      </dgm:t>
    </dgm:pt>
    <dgm:pt modelId="{FE2A8E83-CF9A-449A-9D64-177C00E1BD1E}" type="sibTrans" cxnId="{C7436B97-EA16-4B03-B738-9E2C6117695F}">
      <dgm:prSet/>
      <dgm:spPr/>
      <dgm:t>
        <a:bodyPr/>
        <a:lstStyle/>
        <a:p>
          <a:endParaRPr lang="en-US"/>
        </a:p>
      </dgm:t>
    </dgm:pt>
    <dgm:pt modelId="{9AB589F3-9326-4761-A1E1-5FED3F3A53A2}">
      <dgm:prSet phldrT="[Text]" custT="1"/>
      <dgm:spPr>
        <a:xfrm>
          <a:off x="6679634"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t>
        <a:bodyPr/>
        <a:lstStyle/>
        <a:p>
          <a:pPr>
            <a:buChar char="•"/>
          </a:pPr>
          <a:r>
            <a:rPr lang="en-US" sz="1200" dirty="0">
              <a:solidFill>
                <a:sysClr val="windowText" lastClr="000000">
                  <a:hueOff val="0"/>
                  <a:satOff val="0"/>
                  <a:lumOff val="0"/>
                  <a:alphaOff val="0"/>
                </a:sysClr>
              </a:solidFill>
              <a:latin typeface="Calibri" panose="020F0502020204030204"/>
              <a:ea typeface="+mn-ea"/>
              <a:cs typeface="+mn-cs"/>
            </a:rPr>
            <a:t>Dynamics 365 Fraud Protection</a:t>
          </a:r>
        </a:p>
      </dgm:t>
    </dgm:pt>
    <dgm:pt modelId="{E5C55DD3-BDC9-4E63-8517-354C93DB1AB6}" type="parTrans" cxnId="{D5CB2131-2743-4CA3-8AB7-27B37710D439}">
      <dgm:prSet/>
      <dgm:spPr/>
      <dgm:t>
        <a:bodyPr/>
        <a:lstStyle/>
        <a:p>
          <a:endParaRPr lang="en-US"/>
        </a:p>
      </dgm:t>
    </dgm:pt>
    <dgm:pt modelId="{8BD5F7F4-265C-4B94-8631-BFF41FB7E85C}" type="sibTrans" cxnId="{D5CB2131-2743-4CA3-8AB7-27B37710D439}">
      <dgm:prSet/>
      <dgm:spPr/>
      <dgm:t>
        <a:bodyPr/>
        <a:lstStyle/>
        <a:p>
          <a:endParaRPr lang="en-US"/>
        </a:p>
      </dgm:t>
    </dgm:pt>
    <dgm:pt modelId="{1E76EA45-8105-4B2A-9CB3-BCBF4B5D5CDF}">
      <dgm:prSet custT="1"/>
      <dgm:spPr>
        <a:xfrm>
          <a:off x="3341726"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gm:spPr>
      <dgm:t>
        <a:bodyPr/>
        <a:lstStyle/>
        <a:p>
          <a:pPr>
            <a:buNone/>
          </a:pPr>
          <a:r>
            <a:rPr lang="en-US" sz="1400" dirty="0">
              <a:solidFill>
                <a:sysClr val="windowText" lastClr="000000"/>
              </a:solidFill>
              <a:latin typeface="Calibri" panose="020F0502020204030204"/>
              <a:ea typeface="+mn-ea"/>
              <a:cs typeface="+mn-cs"/>
            </a:rPr>
            <a:t>Customer Onboarding</a:t>
          </a:r>
        </a:p>
      </dgm:t>
    </dgm:pt>
    <dgm:pt modelId="{2A20022D-6F72-441A-AA0A-F2EC87B4B4CA}" type="parTrans" cxnId="{8B73DFCA-263F-4FF9-AE2B-B2829238C376}">
      <dgm:prSet/>
      <dgm:spPr/>
      <dgm:t>
        <a:bodyPr/>
        <a:lstStyle/>
        <a:p>
          <a:endParaRPr lang="en-US"/>
        </a:p>
      </dgm:t>
    </dgm:pt>
    <dgm:pt modelId="{69949065-0EE9-43E2-8765-3F4E8B0BCDEB}" type="sibTrans" cxnId="{8B73DFCA-263F-4FF9-AE2B-B2829238C376}">
      <dgm:prSet/>
      <dgm:spPr/>
      <dgm:t>
        <a:bodyPr/>
        <a:lstStyle/>
        <a:p>
          <a:endParaRPr lang="en-US"/>
        </a:p>
      </dgm:t>
    </dgm:pt>
    <dgm:pt modelId="{D8F6645D-EE1F-417C-AAE2-C7715BEF6E20}">
      <dgm:prSet custT="1"/>
      <dgm:spPr>
        <a:xfrm>
          <a:off x="5010680"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gm:spPr>
      <dgm:t>
        <a:bodyPr/>
        <a:lstStyle/>
        <a:p>
          <a:pPr>
            <a:buNone/>
          </a:pPr>
          <a:r>
            <a:rPr lang="en-US" sz="1400" dirty="0">
              <a:solidFill>
                <a:sysClr val="windowText" lastClr="000000"/>
              </a:solidFill>
              <a:latin typeface="Calibri" panose="020F0502020204030204"/>
              <a:ea typeface="+mn-ea"/>
              <a:cs typeface="+mn-cs"/>
            </a:rPr>
            <a:t>Collaboration Manager for Loans</a:t>
          </a:r>
        </a:p>
      </dgm:t>
    </dgm:pt>
    <dgm:pt modelId="{CD75DE3E-8132-4642-823F-B83937889E5B}" type="parTrans" cxnId="{26438274-9229-4526-8C30-14F0EBFA1EB6}">
      <dgm:prSet/>
      <dgm:spPr/>
      <dgm:t>
        <a:bodyPr/>
        <a:lstStyle/>
        <a:p>
          <a:endParaRPr lang="en-US"/>
        </a:p>
      </dgm:t>
    </dgm:pt>
    <dgm:pt modelId="{0828A87A-8749-446C-8870-2A3FD74DC484}" type="sibTrans" cxnId="{26438274-9229-4526-8C30-14F0EBFA1EB6}">
      <dgm:prSet/>
      <dgm:spPr/>
      <dgm:t>
        <a:bodyPr/>
        <a:lstStyle/>
        <a:p>
          <a:endParaRPr lang="en-US"/>
        </a:p>
      </dgm:t>
    </dgm:pt>
    <dgm:pt modelId="{96E841A0-7425-409C-824C-0271B8FA5870}">
      <dgm:prSet custT="1"/>
      <dgm:spPr>
        <a:xfrm>
          <a:off x="3341726"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t>
        <a:bodyPr/>
        <a:lstStyle/>
        <a:p>
          <a:pPr>
            <a:buChar char="•"/>
          </a:pPr>
          <a:r>
            <a:rPr lang="en-US" sz="1200" dirty="0">
              <a:solidFill>
                <a:sysClr val="windowText" lastClr="000000">
                  <a:hueOff val="0"/>
                  <a:satOff val="0"/>
                  <a:lumOff val="0"/>
                  <a:alphaOff val="0"/>
                </a:sysClr>
              </a:solidFill>
              <a:latin typeface="Calibri" panose="020F0502020204030204"/>
              <a:ea typeface="+mn-ea"/>
              <a:cs typeface="+mn-cs"/>
            </a:rPr>
            <a:t>Power Apps</a:t>
          </a:r>
        </a:p>
      </dgm:t>
    </dgm:pt>
    <dgm:pt modelId="{53A21F9D-760D-4242-B2A9-46BCFB894BF8}" type="parTrans" cxnId="{3DD56EC7-8B00-4EBE-BD51-1F6EAEAA84A8}">
      <dgm:prSet/>
      <dgm:spPr/>
      <dgm:t>
        <a:bodyPr/>
        <a:lstStyle/>
        <a:p>
          <a:endParaRPr lang="en-US"/>
        </a:p>
      </dgm:t>
    </dgm:pt>
    <dgm:pt modelId="{90A166CD-0401-4C85-8A97-07578736AC5F}" type="sibTrans" cxnId="{3DD56EC7-8B00-4EBE-BD51-1F6EAEAA84A8}">
      <dgm:prSet/>
      <dgm:spPr/>
      <dgm:t>
        <a:bodyPr/>
        <a:lstStyle/>
        <a:p>
          <a:endParaRPr lang="en-US"/>
        </a:p>
      </dgm:t>
    </dgm:pt>
    <dgm:pt modelId="{F81C47AC-EE18-42F4-B121-8BACA1DC6FB7}">
      <dgm:prSet custT="1"/>
      <dgm:spPr>
        <a:xfrm>
          <a:off x="5010680"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t>
        <a:bodyPr/>
        <a:lstStyle/>
        <a:p>
          <a:pPr>
            <a:buChar char="•"/>
          </a:pPr>
          <a:r>
            <a:rPr lang="en-US" sz="1200" dirty="0">
              <a:solidFill>
                <a:sysClr val="windowText" lastClr="000000">
                  <a:hueOff val="0"/>
                  <a:satOff val="0"/>
                  <a:lumOff val="0"/>
                  <a:alphaOff val="0"/>
                </a:sysClr>
              </a:solidFill>
              <a:latin typeface="Calibri" panose="020F0502020204030204"/>
              <a:ea typeface="+mn-ea"/>
              <a:cs typeface="+mn-cs"/>
            </a:rPr>
            <a:t>Power Apps</a:t>
          </a:r>
        </a:p>
      </dgm:t>
    </dgm:pt>
    <dgm:pt modelId="{EE87C8A7-4070-40E1-9508-4B1419B867FF}" type="parTrans" cxnId="{527F3FCF-0407-43BE-B846-24E8371BBA93}">
      <dgm:prSet/>
      <dgm:spPr/>
      <dgm:t>
        <a:bodyPr/>
        <a:lstStyle/>
        <a:p>
          <a:endParaRPr lang="en-US"/>
        </a:p>
      </dgm:t>
    </dgm:pt>
    <dgm:pt modelId="{A07410BF-A58C-4683-B205-C9541DCCD659}" type="sibTrans" cxnId="{527F3FCF-0407-43BE-B846-24E8371BBA93}">
      <dgm:prSet/>
      <dgm:spPr/>
      <dgm:t>
        <a:bodyPr/>
        <a:lstStyle/>
        <a:p>
          <a:endParaRPr lang="en-US"/>
        </a:p>
      </dgm:t>
    </dgm:pt>
    <dgm:pt modelId="{6673BBF3-D535-4642-9E35-3C9BCB36815B}">
      <dgm:prSet phldrT="[Text]" custT="1"/>
      <dgm:spPr>
        <a:xfrm>
          <a:off x="1672772" y="604035"/>
          <a:ext cx="1463994" cy="1229759"/>
        </a:xfr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t>
        <a:bodyPr/>
        <a:lstStyle/>
        <a:p>
          <a:pPr>
            <a:buChar char="•"/>
          </a:pPr>
          <a:r>
            <a:rPr lang="en-US" sz="1200" dirty="0">
              <a:solidFill>
                <a:sysClr val="windowText" lastClr="000000">
                  <a:hueOff val="0"/>
                  <a:satOff val="0"/>
                  <a:lumOff val="0"/>
                  <a:alphaOff val="0"/>
                </a:sysClr>
              </a:solidFill>
              <a:latin typeface="Calibri" panose="020F0502020204030204"/>
              <a:ea typeface="+mn-ea"/>
              <a:cs typeface="+mn-cs"/>
            </a:rPr>
            <a:t>Dynamics 365 Customer Insights (recommended)</a:t>
          </a:r>
        </a:p>
      </dgm:t>
    </dgm:pt>
    <dgm:pt modelId="{DEDD9D45-867A-4874-AC12-5709A113EB5E}" type="parTrans" cxnId="{8B401A4C-1B0D-4A4E-AD2F-7264BA49F616}">
      <dgm:prSet/>
      <dgm:spPr/>
      <dgm:t>
        <a:bodyPr/>
        <a:lstStyle/>
        <a:p>
          <a:endParaRPr lang="en-IN"/>
        </a:p>
      </dgm:t>
    </dgm:pt>
    <dgm:pt modelId="{0BDB5F4F-7EB2-4008-804C-E74DC22B913B}" type="sibTrans" cxnId="{8B401A4C-1B0D-4A4E-AD2F-7264BA49F616}">
      <dgm:prSet/>
      <dgm:spPr/>
      <dgm:t>
        <a:bodyPr/>
        <a:lstStyle/>
        <a:p>
          <a:endParaRPr lang="en-IN"/>
        </a:p>
      </dgm:t>
    </dgm:pt>
    <dgm:pt modelId="{4EAF500B-C4B6-4AC7-943C-1B4FBE663F40}">
      <dgm:prSet custT="1"/>
      <dgm:spPr>
        <a:xfrm>
          <a:off x="5010680" y="604035"/>
          <a:ext cx="1463994" cy="1229759"/>
        </a:xfr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t>
        <a:bodyPr/>
        <a:lstStyle/>
        <a:p>
          <a:pPr>
            <a:buChar char="•"/>
          </a:pPr>
          <a:r>
            <a:rPr lang="en-US" sz="1200" dirty="0">
              <a:solidFill>
                <a:sysClr val="windowText" lastClr="000000">
                  <a:hueOff val="0"/>
                  <a:satOff val="0"/>
                  <a:lumOff val="0"/>
                  <a:alphaOff val="0"/>
                </a:sysClr>
              </a:solidFill>
              <a:latin typeface="Calibri" panose="020F0502020204030204"/>
              <a:ea typeface="+mn-ea"/>
              <a:cs typeface="+mn-cs"/>
            </a:rPr>
            <a:t>Teams</a:t>
          </a:r>
        </a:p>
      </dgm:t>
    </dgm:pt>
    <dgm:pt modelId="{5116AB83-FAF6-4A44-B6F6-40AACB24E14D}" type="parTrans" cxnId="{FA9BDF56-69BE-45BA-946B-8E42873A60EE}">
      <dgm:prSet/>
      <dgm:spPr/>
      <dgm:t>
        <a:bodyPr/>
        <a:lstStyle/>
        <a:p>
          <a:endParaRPr lang="en-IN"/>
        </a:p>
      </dgm:t>
    </dgm:pt>
    <dgm:pt modelId="{4BF60D81-5DA2-45D3-9C54-365A3665F38B}" type="sibTrans" cxnId="{FA9BDF56-69BE-45BA-946B-8E42873A60EE}">
      <dgm:prSet/>
      <dgm:spPr/>
      <dgm:t>
        <a:bodyPr/>
        <a:lstStyle/>
        <a:p>
          <a:endParaRPr lang="en-IN"/>
        </a:p>
      </dgm:t>
    </dgm:pt>
    <dgm:pt modelId="{88DAD0F8-E624-43E2-8A68-D0F6105AE514}" type="pres">
      <dgm:prSet presAssocID="{FFF37A5C-D8E4-4902-BA75-8F6E1369E301}" presName="Name0" presStyleCnt="0">
        <dgm:presLayoutVars>
          <dgm:dir/>
          <dgm:animLvl val="lvl"/>
          <dgm:resizeHandles val="exact"/>
        </dgm:presLayoutVars>
      </dgm:prSet>
      <dgm:spPr/>
    </dgm:pt>
    <dgm:pt modelId="{0C6043ED-3102-4AF0-B614-63E94FD4D062}" type="pres">
      <dgm:prSet presAssocID="{882B6A9E-B2AD-4C95-B1B2-F3FB5D287051}" presName="composite" presStyleCnt="0"/>
      <dgm:spPr/>
    </dgm:pt>
    <dgm:pt modelId="{68524413-32F6-4CAD-9418-E2E271EE500F}" type="pres">
      <dgm:prSet presAssocID="{882B6A9E-B2AD-4C95-B1B2-F3FB5D287051}" presName="parTx" presStyleLbl="alignNode1" presStyleIdx="0" presStyleCnt="5">
        <dgm:presLayoutVars>
          <dgm:chMax val="0"/>
          <dgm:chPref val="0"/>
          <dgm:bulletEnabled val="1"/>
        </dgm:presLayoutVars>
      </dgm:prSet>
      <dgm:spPr/>
    </dgm:pt>
    <dgm:pt modelId="{A604EC34-0CCC-47A3-B869-3A915CE1350B}" type="pres">
      <dgm:prSet presAssocID="{882B6A9E-B2AD-4C95-B1B2-F3FB5D287051}" presName="desTx" presStyleLbl="alignAccFollowNode1" presStyleIdx="0" presStyleCnt="5">
        <dgm:presLayoutVars>
          <dgm:bulletEnabled val="1"/>
        </dgm:presLayoutVars>
      </dgm:prSet>
      <dgm:spPr/>
    </dgm:pt>
    <dgm:pt modelId="{C4BD8563-5968-4ED3-AE07-C2FC6EDF7394}" type="pres">
      <dgm:prSet presAssocID="{BE1D23A2-F909-4257-8FE8-503906937B46}" presName="space" presStyleCnt="0"/>
      <dgm:spPr/>
    </dgm:pt>
    <dgm:pt modelId="{F6E1A38D-B698-436B-8102-AA0AB53BB266}" type="pres">
      <dgm:prSet presAssocID="{9CD893E5-A3C6-4AEA-BA61-C5595BC0FDA6}" presName="composite" presStyleCnt="0"/>
      <dgm:spPr/>
    </dgm:pt>
    <dgm:pt modelId="{F302A4F3-216D-4888-A373-6BB84089285F}" type="pres">
      <dgm:prSet presAssocID="{9CD893E5-A3C6-4AEA-BA61-C5595BC0FDA6}" presName="parTx" presStyleLbl="alignNode1" presStyleIdx="1" presStyleCnt="5">
        <dgm:presLayoutVars>
          <dgm:chMax val="0"/>
          <dgm:chPref val="0"/>
          <dgm:bulletEnabled val="1"/>
        </dgm:presLayoutVars>
      </dgm:prSet>
      <dgm:spPr/>
    </dgm:pt>
    <dgm:pt modelId="{9DA56E56-FBF4-4390-8875-D2BCA515C852}" type="pres">
      <dgm:prSet presAssocID="{9CD893E5-A3C6-4AEA-BA61-C5595BC0FDA6}" presName="desTx" presStyleLbl="alignAccFollowNode1" presStyleIdx="1" presStyleCnt="5">
        <dgm:presLayoutVars>
          <dgm:bulletEnabled val="1"/>
        </dgm:presLayoutVars>
      </dgm:prSet>
      <dgm:spPr>
        <a:prstGeom prst="rect">
          <a:avLst/>
        </a:prstGeom>
      </dgm:spPr>
    </dgm:pt>
    <dgm:pt modelId="{B69CB2A7-6DA6-488F-B1BE-DC285EBD739C}" type="pres">
      <dgm:prSet presAssocID="{5445644C-4ED1-4675-81BD-2775B0DB6221}" presName="space" presStyleCnt="0"/>
      <dgm:spPr/>
    </dgm:pt>
    <dgm:pt modelId="{936FCCE2-9F29-4ABD-BE9E-C07F57C9C122}" type="pres">
      <dgm:prSet presAssocID="{1E76EA45-8105-4B2A-9CB3-BCBF4B5D5CDF}" presName="composite" presStyleCnt="0"/>
      <dgm:spPr/>
    </dgm:pt>
    <dgm:pt modelId="{3875CCE9-4A5A-4692-94FD-3094BC7CAEE8}" type="pres">
      <dgm:prSet presAssocID="{1E76EA45-8105-4B2A-9CB3-BCBF4B5D5CDF}" presName="parTx" presStyleLbl="alignNode1" presStyleIdx="2" presStyleCnt="5">
        <dgm:presLayoutVars>
          <dgm:chMax val="0"/>
          <dgm:chPref val="0"/>
          <dgm:bulletEnabled val="1"/>
        </dgm:presLayoutVars>
      </dgm:prSet>
      <dgm:spPr/>
    </dgm:pt>
    <dgm:pt modelId="{1607F4A2-3946-4224-84BE-3EBD082C8385}" type="pres">
      <dgm:prSet presAssocID="{1E76EA45-8105-4B2A-9CB3-BCBF4B5D5CDF}" presName="desTx" presStyleLbl="alignAccFollowNode1" presStyleIdx="2" presStyleCnt="5">
        <dgm:presLayoutVars>
          <dgm:bulletEnabled val="1"/>
        </dgm:presLayoutVars>
      </dgm:prSet>
      <dgm:spPr/>
    </dgm:pt>
    <dgm:pt modelId="{30892E89-7700-4FAD-B080-5063F6D8E0BA}" type="pres">
      <dgm:prSet presAssocID="{69949065-0EE9-43E2-8765-3F4E8B0BCDEB}" presName="space" presStyleCnt="0"/>
      <dgm:spPr/>
    </dgm:pt>
    <dgm:pt modelId="{72C77641-8775-4F16-9620-A82BBD35596C}" type="pres">
      <dgm:prSet presAssocID="{D8F6645D-EE1F-417C-AAE2-C7715BEF6E20}" presName="composite" presStyleCnt="0"/>
      <dgm:spPr/>
    </dgm:pt>
    <dgm:pt modelId="{3676BC84-617A-44B6-A389-FE04E7781EA2}" type="pres">
      <dgm:prSet presAssocID="{D8F6645D-EE1F-417C-AAE2-C7715BEF6E20}" presName="parTx" presStyleLbl="alignNode1" presStyleIdx="3" presStyleCnt="5">
        <dgm:presLayoutVars>
          <dgm:chMax val="0"/>
          <dgm:chPref val="0"/>
          <dgm:bulletEnabled val="1"/>
        </dgm:presLayoutVars>
      </dgm:prSet>
      <dgm:spPr/>
    </dgm:pt>
    <dgm:pt modelId="{AB5BEDC1-4184-4E29-85F5-EFAEABAD65D9}" type="pres">
      <dgm:prSet presAssocID="{D8F6645D-EE1F-417C-AAE2-C7715BEF6E20}" presName="desTx" presStyleLbl="alignAccFollowNode1" presStyleIdx="3" presStyleCnt="5">
        <dgm:presLayoutVars>
          <dgm:bulletEnabled val="1"/>
        </dgm:presLayoutVars>
      </dgm:prSet>
      <dgm:spPr>
        <a:prstGeom prst="rect">
          <a:avLst/>
        </a:prstGeom>
      </dgm:spPr>
    </dgm:pt>
    <dgm:pt modelId="{C74960AD-4E99-4520-8FA7-A53567714C8B}" type="pres">
      <dgm:prSet presAssocID="{0828A87A-8749-446C-8870-2A3FD74DC484}" presName="space" presStyleCnt="0"/>
      <dgm:spPr/>
    </dgm:pt>
    <dgm:pt modelId="{531814B2-2216-4A3A-8574-B2BEC8ADD466}" type="pres">
      <dgm:prSet presAssocID="{7B0ABC2B-443D-4E26-BE59-5A5A3B4BB5BE}" presName="composite" presStyleCnt="0"/>
      <dgm:spPr/>
    </dgm:pt>
    <dgm:pt modelId="{2B34CBDE-EF48-47B1-9E1D-4E6AB5F47B1B}" type="pres">
      <dgm:prSet presAssocID="{7B0ABC2B-443D-4E26-BE59-5A5A3B4BB5BE}" presName="parTx" presStyleLbl="alignNode1" presStyleIdx="4" presStyleCnt="5">
        <dgm:presLayoutVars>
          <dgm:chMax val="0"/>
          <dgm:chPref val="0"/>
          <dgm:bulletEnabled val="1"/>
        </dgm:presLayoutVars>
      </dgm:prSet>
      <dgm:spPr/>
    </dgm:pt>
    <dgm:pt modelId="{4A454568-650B-4645-8374-71291155078D}" type="pres">
      <dgm:prSet presAssocID="{7B0ABC2B-443D-4E26-BE59-5A5A3B4BB5BE}" presName="desTx" presStyleLbl="alignAccFollowNode1" presStyleIdx="4" presStyleCnt="5">
        <dgm:presLayoutVars>
          <dgm:bulletEnabled val="1"/>
        </dgm:presLayoutVars>
      </dgm:prSet>
      <dgm:spPr/>
    </dgm:pt>
  </dgm:ptLst>
  <dgm:cxnLst>
    <dgm:cxn modelId="{E79FD406-5477-4F32-B559-FAC4A736F509}" type="presOf" srcId="{6673BBF3-D535-4642-9E35-3C9BCB36815B}" destId="{9DA56E56-FBF4-4390-8875-D2BCA515C852}" srcOrd="0" destOrd="1" presId="urn:microsoft.com/office/officeart/2005/8/layout/hList1"/>
    <dgm:cxn modelId="{E073BE29-46D8-4BF7-B4AD-DACE55E59B7B}" srcId="{FFF37A5C-D8E4-4902-BA75-8F6E1369E301}" destId="{882B6A9E-B2AD-4C95-B1B2-F3FB5D287051}" srcOrd="0" destOrd="0" parTransId="{87BEC531-7355-40FF-898E-CA7A13E734EF}" sibTransId="{BE1D23A2-F909-4257-8FE8-503906937B46}"/>
    <dgm:cxn modelId="{D5CB2131-2743-4CA3-8AB7-27B37710D439}" srcId="{7B0ABC2B-443D-4E26-BE59-5A5A3B4BB5BE}" destId="{9AB589F3-9326-4761-A1E1-5FED3F3A53A2}" srcOrd="0" destOrd="0" parTransId="{E5C55DD3-BDC9-4E63-8517-354C93DB1AB6}" sibTransId="{8BD5F7F4-265C-4B94-8631-BFF41FB7E85C}"/>
    <dgm:cxn modelId="{75B6733B-7FD9-4EDF-91AE-F007CBB1ADB6}" type="presOf" srcId="{1E76EA45-8105-4B2A-9CB3-BCBF4B5D5CDF}" destId="{3875CCE9-4A5A-4692-94FD-3094BC7CAEE8}" srcOrd="0" destOrd="0" presId="urn:microsoft.com/office/officeart/2005/8/layout/hList1"/>
    <dgm:cxn modelId="{810B523D-6968-4C2A-9D4E-F7AA9F1D9B9E}" srcId="{9CD893E5-A3C6-4AEA-BA61-C5595BC0FDA6}" destId="{8D84372F-993D-48A5-8E94-68B7207D7D97}" srcOrd="0" destOrd="0" parTransId="{C6CFE90E-B5EC-444B-91D2-AAFF1F8B2FF6}" sibTransId="{F39222CB-4C8C-45A9-832B-2311DDEE2E31}"/>
    <dgm:cxn modelId="{4B2E465B-0333-4E5A-A652-EDF46479C233}" srcId="{FFF37A5C-D8E4-4902-BA75-8F6E1369E301}" destId="{9CD893E5-A3C6-4AEA-BA61-C5595BC0FDA6}" srcOrd="1" destOrd="0" parTransId="{F2082CB3-CB79-4825-A75D-FD84BC4EBEFC}" sibTransId="{5445644C-4ED1-4675-81BD-2775B0DB6221}"/>
    <dgm:cxn modelId="{F01ED466-A5C1-4C83-94E9-4DE2EC1DCBFD}" type="presOf" srcId="{9CD893E5-A3C6-4AEA-BA61-C5595BC0FDA6}" destId="{F302A4F3-216D-4888-A373-6BB84089285F}" srcOrd="0" destOrd="0" presId="urn:microsoft.com/office/officeart/2005/8/layout/hList1"/>
    <dgm:cxn modelId="{84C7D348-C9E6-4116-ADD0-D6BC4CF2319E}" type="presOf" srcId="{8D84372F-993D-48A5-8E94-68B7207D7D97}" destId="{9DA56E56-FBF4-4390-8875-D2BCA515C852}" srcOrd="0" destOrd="0" presId="urn:microsoft.com/office/officeart/2005/8/layout/hList1"/>
    <dgm:cxn modelId="{8B401A4C-1B0D-4A4E-AD2F-7264BA49F616}" srcId="{9CD893E5-A3C6-4AEA-BA61-C5595BC0FDA6}" destId="{6673BBF3-D535-4642-9E35-3C9BCB36815B}" srcOrd="1" destOrd="0" parTransId="{DEDD9D45-867A-4874-AC12-5709A113EB5E}" sibTransId="{0BDB5F4F-7EB2-4008-804C-E74DC22B913B}"/>
    <dgm:cxn modelId="{26438274-9229-4526-8C30-14F0EBFA1EB6}" srcId="{FFF37A5C-D8E4-4902-BA75-8F6E1369E301}" destId="{D8F6645D-EE1F-417C-AAE2-C7715BEF6E20}" srcOrd="3" destOrd="0" parTransId="{CD75DE3E-8132-4642-823F-B83937889E5B}" sibTransId="{0828A87A-8749-446C-8870-2A3FD74DC484}"/>
    <dgm:cxn modelId="{FA9BDF56-69BE-45BA-946B-8E42873A60EE}" srcId="{D8F6645D-EE1F-417C-AAE2-C7715BEF6E20}" destId="{4EAF500B-C4B6-4AC7-943C-1B4FBE663F40}" srcOrd="1" destOrd="0" parTransId="{5116AB83-FAF6-4A44-B6F6-40AACB24E14D}" sibTransId="{4BF60D81-5DA2-45D3-9C54-365A3665F38B}"/>
    <dgm:cxn modelId="{6FBBF359-5879-48AE-84CF-9E011AC89300}" type="presOf" srcId="{FFF37A5C-D8E4-4902-BA75-8F6E1369E301}" destId="{88DAD0F8-E624-43E2-8A68-D0F6105AE514}" srcOrd="0" destOrd="0" presId="urn:microsoft.com/office/officeart/2005/8/layout/hList1"/>
    <dgm:cxn modelId="{A5A5357C-4842-4090-9A4A-9EB844E25F95}" srcId="{882B6A9E-B2AD-4C95-B1B2-F3FB5D287051}" destId="{9618CA27-2E2F-42B4-B10F-E9443F613345}" srcOrd="0" destOrd="0" parTransId="{B6E72DF1-C1F0-447D-811C-9DEDAC1B54EC}" sibTransId="{B50521E0-5F4C-4067-BD7F-E1E3613D9BA6}"/>
    <dgm:cxn modelId="{90CBD27F-2D2C-431D-B705-FCEE63084890}" type="presOf" srcId="{96E841A0-7425-409C-824C-0271B8FA5870}" destId="{1607F4A2-3946-4224-84BE-3EBD082C8385}" srcOrd="0" destOrd="0" presId="urn:microsoft.com/office/officeart/2005/8/layout/hList1"/>
    <dgm:cxn modelId="{F4213096-A654-4E28-A15D-12FEE8880852}" type="presOf" srcId="{D8F6645D-EE1F-417C-AAE2-C7715BEF6E20}" destId="{3676BC84-617A-44B6-A389-FE04E7781EA2}" srcOrd="0" destOrd="0" presId="urn:microsoft.com/office/officeart/2005/8/layout/hList1"/>
    <dgm:cxn modelId="{C7436B97-EA16-4B03-B738-9E2C6117695F}" srcId="{FFF37A5C-D8E4-4902-BA75-8F6E1369E301}" destId="{7B0ABC2B-443D-4E26-BE59-5A5A3B4BB5BE}" srcOrd="4" destOrd="0" parTransId="{B1ED942F-7AB5-4A79-8759-C0533FB429B9}" sibTransId="{FE2A8E83-CF9A-449A-9D64-177C00E1BD1E}"/>
    <dgm:cxn modelId="{3DD56EC7-8B00-4EBE-BD51-1F6EAEAA84A8}" srcId="{1E76EA45-8105-4B2A-9CB3-BCBF4B5D5CDF}" destId="{96E841A0-7425-409C-824C-0271B8FA5870}" srcOrd="0" destOrd="0" parTransId="{53A21F9D-760D-4242-B2A9-46BCFB894BF8}" sibTransId="{90A166CD-0401-4C85-8A97-07578736AC5F}"/>
    <dgm:cxn modelId="{0A3576C8-9646-42FB-B38B-D269EDEF1248}" type="presOf" srcId="{4EAF500B-C4B6-4AC7-943C-1B4FBE663F40}" destId="{AB5BEDC1-4184-4E29-85F5-EFAEABAD65D9}" srcOrd="0" destOrd="1" presId="urn:microsoft.com/office/officeart/2005/8/layout/hList1"/>
    <dgm:cxn modelId="{8B73DFCA-263F-4FF9-AE2B-B2829238C376}" srcId="{FFF37A5C-D8E4-4902-BA75-8F6E1369E301}" destId="{1E76EA45-8105-4B2A-9CB3-BCBF4B5D5CDF}" srcOrd="2" destOrd="0" parTransId="{2A20022D-6F72-441A-AA0A-F2EC87B4B4CA}" sibTransId="{69949065-0EE9-43E2-8765-3F4E8B0BCDEB}"/>
    <dgm:cxn modelId="{637A03CB-117C-4CD1-84A6-55F07DBEDEDE}" type="presOf" srcId="{9618CA27-2E2F-42B4-B10F-E9443F613345}" destId="{A604EC34-0CCC-47A3-B869-3A915CE1350B}" srcOrd="0" destOrd="0" presId="urn:microsoft.com/office/officeart/2005/8/layout/hList1"/>
    <dgm:cxn modelId="{527F3FCF-0407-43BE-B846-24E8371BBA93}" srcId="{D8F6645D-EE1F-417C-AAE2-C7715BEF6E20}" destId="{F81C47AC-EE18-42F4-B121-8BACA1DC6FB7}" srcOrd="0" destOrd="0" parTransId="{EE87C8A7-4070-40E1-9508-4B1419B867FF}" sibTransId="{A07410BF-A58C-4683-B205-C9541DCCD659}"/>
    <dgm:cxn modelId="{0771FBE6-494A-4E09-903E-D1D2592397BB}" type="presOf" srcId="{F81C47AC-EE18-42F4-B121-8BACA1DC6FB7}" destId="{AB5BEDC1-4184-4E29-85F5-EFAEABAD65D9}" srcOrd="0" destOrd="0" presId="urn:microsoft.com/office/officeart/2005/8/layout/hList1"/>
    <dgm:cxn modelId="{CEF9A2E9-4F11-493D-A963-E778449FAC85}" type="presOf" srcId="{7B0ABC2B-443D-4E26-BE59-5A5A3B4BB5BE}" destId="{2B34CBDE-EF48-47B1-9E1D-4E6AB5F47B1B}" srcOrd="0" destOrd="0" presId="urn:microsoft.com/office/officeart/2005/8/layout/hList1"/>
    <dgm:cxn modelId="{8F8BE7F4-1647-4A9B-B26D-17BFD9A39919}" type="presOf" srcId="{882B6A9E-B2AD-4C95-B1B2-F3FB5D287051}" destId="{68524413-32F6-4CAD-9418-E2E271EE500F}" srcOrd="0" destOrd="0" presId="urn:microsoft.com/office/officeart/2005/8/layout/hList1"/>
    <dgm:cxn modelId="{5B250DF5-3479-4888-A409-4610D208B3AE}" type="presOf" srcId="{9AB589F3-9326-4761-A1E1-5FED3F3A53A2}" destId="{4A454568-650B-4645-8374-71291155078D}" srcOrd="0" destOrd="0" presId="urn:microsoft.com/office/officeart/2005/8/layout/hList1"/>
    <dgm:cxn modelId="{B247D537-34C2-4D92-BBBA-60F24025B993}" type="presParOf" srcId="{88DAD0F8-E624-43E2-8A68-D0F6105AE514}" destId="{0C6043ED-3102-4AF0-B614-63E94FD4D062}" srcOrd="0" destOrd="0" presId="urn:microsoft.com/office/officeart/2005/8/layout/hList1"/>
    <dgm:cxn modelId="{76459C08-166E-4011-90C3-1DD527DC800B}" type="presParOf" srcId="{0C6043ED-3102-4AF0-B614-63E94FD4D062}" destId="{68524413-32F6-4CAD-9418-E2E271EE500F}" srcOrd="0" destOrd="0" presId="urn:microsoft.com/office/officeart/2005/8/layout/hList1"/>
    <dgm:cxn modelId="{9779A57C-00C8-4972-AD35-07AF22D7030D}" type="presParOf" srcId="{0C6043ED-3102-4AF0-B614-63E94FD4D062}" destId="{A604EC34-0CCC-47A3-B869-3A915CE1350B}" srcOrd="1" destOrd="0" presId="urn:microsoft.com/office/officeart/2005/8/layout/hList1"/>
    <dgm:cxn modelId="{F5292534-520B-4400-8124-D79D834C2722}" type="presParOf" srcId="{88DAD0F8-E624-43E2-8A68-D0F6105AE514}" destId="{C4BD8563-5968-4ED3-AE07-C2FC6EDF7394}" srcOrd="1" destOrd="0" presId="urn:microsoft.com/office/officeart/2005/8/layout/hList1"/>
    <dgm:cxn modelId="{F001C2C4-CAF0-4E00-A8A8-81391F7A1353}" type="presParOf" srcId="{88DAD0F8-E624-43E2-8A68-D0F6105AE514}" destId="{F6E1A38D-B698-436B-8102-AA0AB53BB266}" srcOrd="2" destOrd="0" presId="urn:microsoft.com/office/officeart/2005/8/layout/hList1"/>
    <dgm:cxn modelId="{A3D6541F-D6F7-466C-B49A-15BAD438ED5E}" type="presParOf" srcId="{F6E1A38D-B698-436B-8102-AA0AB53BB266}" destId="{F302A4F3-216D-4888-A373-6BB84089285F}" srcOrd="0" destOrd="0" presId="urn:microsoft.com/office/officeart/2005/8/layout/hList1"/>
    <dgm:cxn modelId="{BCC2F7BE-50A3-4C44-BE02-579F0B49C049}" type="presParOf" srcId="{F6E1A38D-B698-436B-8102-AA0AB53BB266}" destId="{9DA56E56-FBF4-4390-8875-D2BCA515C852}" srcOrd="1" destOrd="0" presId="urn:microsoft.com/office/officeart/2005/8/layout/hList1"/>
    <dgm:cxn modelId="{68EAB60E-4D48-4560-A6A2-ECCFFF121AA7}" type="presParOf" srcId="{88DAD0F8-E624-43E2-8A68-D0F6105AE514}" destId="{B69CB2A7-6DA6-488F-B1BE-DC285EBD739C}" srcOrd="3" destOrd="0" presId="urn:microsoft.com/office/officeart/2005/8/layout/hList1"/>
    <dgm:cxn modelId="{F061AAAC-97FB-4511-92E4-4C3BC296FA22}" type="presParOf" srcId="{88DAD0F8-E624-43E2-8A68-D0F6105AE514}" destId="{936FCCE2-9F29-4ABD-BE9E-C07F57C9C122}" srcOrd="4" destOrd="0" presId="urn:microsoft.com/office/officeart/2005/8/layout/hList1"/>
    <dgm:cxn modelId="{3F501FE9-C7B1-43A3-968C-ACFEA4CAA0E6}" type="presParOf" srcId="{936FCCE2-9F29-4ABD-BE9E-C07F57C9C122}" destId="{3875CCE9-4A5A-4692-94FD-3094BC7CAEE8}" srcOrd="0" destOrd="0" presId="urn:microsoft.com/office/officeart/2005/8/layout/hList1"/>
    <dgm:cxn modelId="{2D9F2292-C99D-48B8-9FDE-026AB430ECF9}" type="presParOf" srcId="{936FCCE2-9F29-4ABD-BE9E-C07F57C9C122}" destId="{1607F4A2-3946-4224-84BE-3EBD082C8385}" srcOrd="1" destOrd="0" presId="urn:microsoft.com/office/officeart/2005/8/layout/hList1"/>
    <dgm:cxn modelId="{22AB3577-F9E6-4ABF-BDAC-3FC33287F178}" type="presParOf" srcId="{88DAD0F8-E624-43E2-8A68-D0F6105AE514}" destId="{30892E89-7700-4FAD-B080-5063F6D8E0BA}" srcOrd="5" destOrd="0" presId="urn:microsoft.com/office/officeart/2005/8/layout/hList1"/>
    <dgm:cxn modelId="{6E51B205-261A-4B26-A08A-56BA58CD3AEF}" type="presParOf" srcId="{88DAD0F8-E624-43E2-8A68-D0F6105AE514}" destId="{72C77641-8775-4F16-9620-A82BBD35596C}" srcOrd="6" destOrd="0" presId="urn:microsoft.com/office/officeart/2005/8/layout/hList1"/>
    <dgm:cxn modelId="{523AE273-4F6E-454F-B8F9-DFA500997380}" type="presParOf" srcId="{72C77641-8775-4F16-9620-A82BBD35596C}" destId="{3676BC84-617A-44B6-A389-FE04E7781EA2}" srcOrd="0" destOrd="0" presId="urn:microsoft.com/office/officeart/2005/8/layout/hList1"/>
    <dgm:cxn modelId="{00631C76-2D68-4C59-8A2B-25AC7EDF6E91}" type="presParOf" srcId="{72C77641-8775-4F16-9620-A82BBD35596C}" destId="{AB5BEDC1-4184-4E29-85F5-EFAEABAD65D9}" srcOrd="1" destOrd="0" presId="urn:microsoft.com/office/officeart/2005/8/layout/hList1"/>
    <dgm:cxn modelId="{242F9CFF-8713-46BB-A603-1DEDF86B5CB6}" type="presParOf" srcId="{88DAD0F8-E624-43E2-8A68-D0F6105AE514}" destId="{C74960AD-4E99-4520-8FA7-A53567714C8B}" srcOrd="7" destOrd="0" presId="urn:microsoft.com/office/officeart/2005/8/layout/hList1"/>
    <dgm:cxn modelId="{1B4217CF-573E-40FA-BDE6-0ACFF083CE7C}" type="presParOf" srcId="{88DAD0F8-E624-43E2-8A68-D0F6105AE514}" destId="{531814B2-2216-4A3A-8574-B2BEC8ADD466}" srcOrd="8" destOrd="0" presId="urn:microsoft.com/office/officeart/2005/8/layout/hList1"/>
    <dgm:cxn modelId="{98E4725F-A8B0-4EAD-B6D1-FAE11C8907DA}" type="presParOf" srcId="{531814B2-2216-4A3A-8574-B2BEC8ADD466}" destId="{2B34CBDE-EF48-47B1-9E1D-4E6AB5F47B1B}" srcOrd="0" destOrd="0" presId="urn:microsoft.com/office/officeart/2005/8/layout/hList1"/>
    <dgm:cxn modelId="{6BCFC18A-F48B-45C8-A032-98BD96F8CF6D}" type="presParOf" srcId="{531814B2-2216-4A3A-8574-B2BEC8ADD466}" destId="{4A454568-650B-4645-8374-71291155078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9434DE-CD5C-4FA4-93E6-DA6F233E21F0}" type="doc">
      <dgm:prSet loTypeId="urn:microsoft.com/office/officeart/2005/8/layout/hierarchy3" loCatId="list" qsTypeId="urn:microsoft.com/office/officeart/2005/8/quickstyle/simple1" qsCatId="simple" csTypeId="urn:microsoft.com/office/officeart/2005/8/colors/accent1_1" csCatId="accent1" phldr="1"/>
      <dgm:spPr/>
      <dgm:t>
        <a:bodyPr/>
        <a:lstStyle/>
        <a:p>
          <a:endParaRPr lang="en-US"/>
        </a:p>
      </dgm:t>
    </dgm:pt>
    <dgm:pt modelId="{7ED84A95-D274-46FD-B93D-EDDDED90944C}">
      <dgm:prSet phldrT="[Text]"/>
      <dgm:spPr/>
      <dgm:t>
        <a:bodyPr/>
        <a:lstStyle/>
        <a:p>
          <a:r>
            <a:rPr lang="en-US" dirty="0">
              <a:latin typeface="+mj-lt"/>
            </a:rPr>
            <a:t>Unified Customer Profile</a:t>
          </a:r>
        </a:p>
      </dgm:t>
    </dgm:pt>
    <dgm:pt modelId="{ABDB2E02-F842-4C3F-8D23-F0F0C0794222}" type="parTrans" cxnId="{5E5055FF-B86C-49F4-9098-61EAF6731B2F}">
      <dgm:prSet/>
      <dgm:spPr/>
      <dgm:t>
        <a:bodyPr/>
        <a:lstStyle/>
        <a:p>
          <a:endParaRPr lang="en-US"/>
        </a:p>
      </dgm:t>
    </dgm:pt>
    <dgm:pt modelId="{F90631B9-DF5A-4767-A0CC-35ABA0FDCDDF}" type="sibTrans" cxnId="{5E5055FF-B86C-49F4-9098-61EAF6731B2F}">
      <dgm:prSet/>
      <dgm:spPr/>
      <dgm:t>
        <a:bodyPr/>
        <a:lstStyle/>
        <a:p>
          <a:endParaRPr lang="en-US"/>
        </a:p>
      </dgm:t>
    </dgm:pt>
    <dgm:pt modelId="{F7BDB970-0B36-4E06-8D86-A159F7AA5351}">
      <dgm:prSet phldrT="[Text]"/>
      <dgm:spPr/>
      <dgm:t>
        <a:bodyPr/>
        <a:lstStyle/>
        <a:p>
          <a:r>
            <a:rPr lang="en-US" dirty="0"/>
            <a:t>Configure churn model as part of Customer Intelligence</a:t>
          </a:r>
        </a:p>
      </dgm:t>
    </dgm:pt>
    <dgm:pt modelId="{4907D66E-E35E-4062-B5AC-F8D7935D8564}" type="parTrans" cxnId="{CF760002-C41E-42A4-A265-AFFC2AAC8FA7}">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AA756644-AFC4-47F4-8D56-8ABD5C32912C}" type="sibTrans" cxnId="{CF760002-C41E-42A4-A265-AFFC2AAC8FA7}">
      <dgm:prSet/>
      <dgm:spPr/>
      <dgm:t>
        <a:bodyPr/>
        <a:lstStyle/>
        <a:p>
          <a:endParaRPr lang="en-US"/>
        </a:p>
      </dgm:t>
    </dgm:pt>
    <dgm:pt modelId="{07283681-182C-4D45-B0A6-1DE8F6547B09}">
      <dgm:prSet phldrT="[Text]"/>
      <dgm:spPr/>
      <dgm:t>
        <a:bodyPr/>
        <a:lstStyle/>
        <a:p>
          <a:r>
            <a:rPr lang="en-US" dirty="0">
              <a:latin typeface="+mj-lt"/>
            </a:rPr>
            <a:t>Customer Onboarding</a:t>
          </a:r>
        </a:p>
      </dgm:t>
    </dgm:pt>
    <dgm:pt modelId="{3176D301-A84B-4361-B669-010D401D2833}" type="parTrans" cxnId="{B4C8E6DC-C01B-4CA5-A2C5-144AC003C0E0}">
      <dgm:prSet/>
      <dgm:spPr/>
      <dgm:t>
        <a:bodyPr/>
        <a:lstStyle/>
        <a:p>
          <a:endParaRPr lang="en-US"/>
        </a:p>
      </dgm:t>
    </dgm:pt>
    <dgm:pt modelId="{C2160CFD-649B-4CE2-8632-5BED80C36481}" type="sibTrans" cxnId="{B4C8E6DC-C01B-4CA5-A2C5-144AC003C0E0}">
      <dgm:prSet/>
      <dgm:spPr/>
      <dgm:t>
        <a:bodyPr/>
        <a:lstStyle/>
        <a:p>
          <a:endParaRPr lang="en-US"/>
        </a:p>
      </dgm:t>
    </dgm:pt>
    <dgm:pt modelId="{CE76FBE6-823E-406B-A6E1-1CD3AEC49791}">
      <dgm:prSet phldrT="[Text]"/>
      <dgm:spPr/>
      <dgm:t>
        <a:bodyPr/>
        <a:lstStyle/>
        <a:p>
          <a:r>
            <a:rPr lang="en-US" dirty="0"/>
            <a:t>Configure sample portal</a:t>
          </a:r>
        </a:p>
      </dgm:t>
    </dgm:pt>
    <dgm:pt modelId="{BE10CA15-2BF5-49C4-AE39-7840512C7DDF}" type="parTrans" cxnId="{393670E3-A898-4724-BBCE-3466A622A72B}">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F8A0D236-7EE1-4910-86CB-4705508F2A27}" type="sibTrans" cxnId="{393670E3-A898-4724-BBCE-3466A622A72B}">
      <dgm:prSet/>
      <dgm:spPr/>
      <dgm:t>
        <a:bodyPr/>
        <a:lstStyle/>
        <a:p>
          <a:endParaRPr lang="en-US"/>
        </a:p>
      </dgm:t>
    </dgm:pt>
    <dgm:pt modelId="{728341AD-DD35-4FA7-9A45-34DDDA95AA04}">
      <dgm:prSet/>
      <dgm:spPr/>
      <dgm:t>
        <a:bodyPr/>
        <a:lstStyle/>
        <a:p>
          <a:r>
            <a:rPr lang="en-US" dirty="0">
              <a:latin typeface="+mj-lt"/>
            </a:rPr>
            <a:t>Collaboration Manager</a:t>
          </a:r>
        </a:p>
      </dgm:t>
    </dgm:pt>
    <dgm:pt modelId="{E107C529-F67C-496A-B84B-F719087F48C4}" type="parTrans" cxnId="{845519D7-5D25-449E-AEE3-7BAEA2A8B5E5}">
      <dgm:prSet/>
      <dgm:spPr/>
      <dgm:t>
        <a:bodyPr/>
        <a:lstStyle/>
        <a:p>
          <a:endParaRPr lang="en-US"/>
        </a:p>
      </dgm:t>
    </dgm:pt>
    <dgm:pt modelId="{877F1188-864C-4BED-9868-2CEFF67038FA}" type="sibTrans" cxnId="{845519D7-5D25-449E-AEE3-7BAEA2A8B5E5}">
      <dgm:prSet/>
      <dgm:spPr/>
      <dgm:t>
        <a:bodyPr/>
        <a:lstStyle/>
        <a:p>
          <a:endParaRPr lang="en-US"/>
        </a:p>
      </dgm:t>
    </dgm:pt>
    <dgm:pt modelId="{2F903AD8-45E5-4E22-8744-89BC100B9C7E}">
      <dgm:prSet/>
      <dgm:spPr/>
      <dgm:t>
        <a:bodyPr/>
        <a:lstStyle/>
        <a:p>
          <a:r>
            <a:rPr lang="en-US" dirty="0"/>
            <a:t>Configure settings values </a:t>
          </a:r>
        </a:p>
      </dgm:t>
    </dgm:pt>
    <dgm:pt modelId="{46C34E2E-2158-4F76-9713-E718BE2F3386}" type="parTrans" cxnId="{CB0D245F-357C-4C0B-BBE4-EDA7379E6E65}">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11CDDFA1-5215-484F-8D5C-80F88457409B}" type="sibTrans" cxnId="{CB0D245F-357C-4C0B-BBE4-EDA7379E6E65}">
      <dgm:prSet/>
      <dgm:spPr/>
      <dgm:t>
        <a:bodyPr/>
        <a:lstStyle/>
        <a:p>
          <a:endParaRPr lang="en-US"/>
        </a:p>
      </dgm:t>
    </dgm:pt>
    <dgm:pt modelId="{E803A963-6C63-4E09-8D95-F994EF4281A7}">
      <dgm:prSet/>
      <dgm:spPr/>
      <dgm:t>
        <a:bodyPr/>
        <a:lstStyle/>
        <a:p>
          <a:r>
            <a:rPr lang="en-US" dirty="0"/>
            <a:t>Configure Business Process Flow for Loan Onboarding </a:t>
          </a:r>
        </a:p>
      </dgm:t>
    </dgm:pt>
    <dgm:pt modelId="{3D9F33FF-12C7-409E-85C3-44582A5065F3}" type="parTrans" cxnId="{0EAE90C8-E89B-49B7-91B8-41A061A5CF86}">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7C32EF1C-ED00-41B0-A050-8E0DA81442EE}" type="sibTrans" cxnId="{0EAE90C8-E89B-49B7-91B8-41A061A5CF86}">
      <dgm:prSet/>
      <dgm:spPr/>
      <dgm:t>
        <a:bodyPr/>
        <a:lstStyle/>
        <a:p>
          <a:endParaRPr lang="en-US"/>
        </a:p>
      </dgm:t>
    </dgm:pt>
    <dgm:pt modelId="{33A3E32E-D5BB-4A3F-B490-9EC751D2D472}">
      <dgm:prSet/>
      <dgm:spPr/>
      <dgm:t>
        <a:bodyPr/>
        <a:lstStyle/>
        <a:p>
          <a:r>
            <a:rPr lang="en-US" dirty="0"/>
            <a:t>Share app with users</a:t>
          </a:r>
        </a:p>
      </dgm:t>
    </dgm:pt>
    <dgm:pt modelId="{02929843-AF60-4DA6-AF76-D91096963F95}" type="parTrans" cxnId="{A3B6D1FB-B8D1-429F-B0A9-60EEDA3AE41E}">
      <dgm:prSet/>
      <dgm:spPr/>
    </dgm:pt>
    <dgm:pt modelId="{F520E5D0-9B3D-4919-A199-223606296041}" type="sibTrans" cxnId="{A3B6D1FB-B8D1-429F-B0A9-60EEDA3AE41E}">
      <dgm:prSet/>
      <dgm:spPr/>
    </dgm:pt>
    <dgm:pt modelId="{763F3E4B-7E49-403D-A45A-F63227F45153}">
      <dgm:prSet/>
      <dgm:spPr/>
      <dgm:t>
        <a:bodyPr/>
        <a:lstStyle/>
        <a:p>
          <a:r>
            <a:rPr lang="en-US" dirty="0"/>
            <a:t>Assigning records to users</a:t>
          </a:r>
        </a:p>
      </dgm:t>
    </dgm:pt>
    <dgm:pt modelId="{33DED2C2-DB2F-4A43-8554-30D03ECE43B0}" type="parTrans" cxnId="{34D9F52B-42F6-4AD8-9E0F-FC9B4311C632}">
      <dgm:prSet/>
      <dgm:spPr/>
    </dgm:pt>
    <dgm:pt modelId="{56D8D892-CBAC-4DE1-A435-3F90C6D08A50}" type="sibTrans" cxnId="{34D9F52B-42F6-4AD8-9E0F-FC9B4311C632}">
      <dgm:prSet/>
      <dgm:spPr/>
    </dgm:pt>
    <dgm:pt modelId="{C1E025FF-84D2-4ABF-BDBE-8CA9BB52BAC4}" type="pres">
      <dgm:prSet presAssocID="{569434DE-CD5C-4FA4-93E6-DA6F233E21F0}" presName="diagram" presStyleCnt="0">
        <dgm:presLayoutVars>
          <dgm:chPref val="1"/>
          <dgm:dir/>
          <dgm:animOne val="branch"/>
          <dgm:animLvl val="lvl"/>
          <dgm:resizeHandles/>
        </dgm:presLayoutVars>
      </dgm:prSet>
      <dgm:spPr/>
    </dgm:pt>
    <dgm:pt modelId="{6CB91F44-8466-4447-8C63-8537004A9805}" type="pres">
      <dgm:prSet presAssocID="{7ED84A95-D274-46FD-B93D-EDDDED90944C}" presName="root" presStyleCnt="0"/>
      <dgm:spPr/>
    </dgm:pt>
    <dgm:pt modelId="{8E8335F5-8BC9-4AD2-B66A-3C1C61D51DC4}" type="pres">
      <dgm:prSet presAssocID="{7ED84A95-D274-46FD-B93D-EDDDED90944C}" presName="rootComposite" presStyleCnt="0"/>
      <dgm:spPr/>
    </dgm:pt>
    <dgm:pt modelId="{B57EF7AA-72AA-4D02-AE75-C8AB51D8B923}" type="pres">
      <dgm:prSet presAssocID="{7ED84A95-D274-46FD-B93D-EDDDED90944C}" presName="rootText" presStyleLbl="node1" presStyleIdx="0" presStyleCnt="3"/>
      <dgm:spPr/>
    </dgm:pt>
    <dgm:pt modelId="{D06EB772-5DC5-44AB-912B-8C90912D27EE}" type="pres">
      <dgm:prSet presAssocID="{7ED84A95-D274-46FD-B93D-EDDDED90944C}" presName="rootConnector" presStyleLbl="node1" presStyleIdx="0" presStyleCnt="3"/>
      <dgm:spPr/>
    </dgm:pt>
    <dgm:pt modelId="{748ED5A0-49C9-48D0-8FAD-15476BA9CA99}" type="pres">
      <dgm:prSet presAssocID="{7ED84A95-D274-46FD-B93D-EDDDED90944C}" presName="childShape" presStyleCnt="0"/>
      <dgm:spPr/>
    </dgm:pt>
    <dgm:pt modelId="{6E563820-8666-4271-BFC9-DD8EC3B1B605}" type="pres">
      <dgm:prSet presAssocID="{4907D66E-E35E-4062-B5AC-F8D7935D8564}" presName="Name13" presStyleLbl="parChTrans1D2" presStyleIdx="0" presStyleCnt="6"/>
      <dgm:spPr/>
    </dgm:pt>
    <dgm:pt modelId="{7B287B5A-4890-485C-97F8-CA801633BB4A}" type="pres">
      <dgm:prSet presAssocID="{F7BDB970-0B36-4E06-8D86-A159F7AA5351}" presName="childText" presStyleLbl="bgAcc1" presStyleIdx="0" presStyleCnt="6">
        <dgm:presLayoutVars>
          <dgm:bulletEnabled val="1"/>
        </dgm:presLayoutVars>
      </dgm:prSet>
      <dgm:spPr/>
    </dgm:pt>
    <dgm:pt modelId="{21735311-650C-4DF0-8DD7-A33AC7692A84}" type="pres">
      <dgm:prSet presAssocID="{07283681-182C-4D45-B0A6-1DE8F6547B09}" presName="root" presStyleCnt="0"/>
      <dgm:spPr/>
    </dgm:pt>
    <dgm:pt modelId="{F05361CD-831E-44D4-9CF7-8DC3B6966278}" type="pres">
      <dgm:prSet presAssocID="{07283681-182C-4D45-B0A6-1DE8F6547B09}" presName="rootComposite" presStyleCnt="0"/>
      <dgm:spPr/>
    </dgm:pt>
    <dgm:pt modelId="{E27E8E49-7D50-44AB-85C4-270AAF54FBD3}" type="pres">
      <dgm:prSet presAssocID="{07283681-182C-4D45-B0A6-1DE8F6547B09}" presName="rootText" presStyleLbl="node1" presStyleIdx="1" presStyleCnt="3"/>
      <dgm:spPr/>
    </dgm:pt>
    <dgm:pt modelId="{C393E780-155D-41C2-96E6-F0B5E001837C}" type="pres">
      <dgm:prSet presAssocID="{07283681-182C-4D45-B0A6-1DE8F6547B09}" presName="rootConnector" presStyleLbl="node1" presStyleIdx="1" presStyleCnt="3"/>
      <dgm:spPr/>
    </dgm:pt>
    <dgm:pt modelId="{88E03F24-0B51-45AF-B242-C1DBC082F21D}" type="pres">
      <dgm:prSet presAssocID="{07283681-182C-4D45-B0A6-1DE8F6547B09}" presName="childShape" presStyleCnt="0"/>
      <dgm:spPr/>
    </dgm:pt>
    <dgm:pt modelId="{C2D859BF-8F12-4AAE-8380-EB83EC8770DF}" type="pres">
      <dgm:prSet presAssocID="{3D9F33FF-12C7-409E-85C3-44582A5065F3}" presName="Name13" presStyleLbl="parChTrans1D2" presStyleIdx="1" presStyleCnt="6"/>
      <dgm:spPr/>
    </dgm:pt>
    <dgm:pt modelId="{9DB7C7B9-90CF-46CF-BEAC-ED40985E8D48}" type="pres">
      <dgm:prSet presAssocID="{E803A963-6C63-4E09-8D95-F994EF4281A7}" presName="childText" presStyleLbl="bgAcc1" presStyleIdx="1" presStyleCnt="6">
        <dgm:presLayoutVars>
          <dgm:bulletEnabled val="1"/>
        </dgm:presLayoutVars>
      </dgm:prSet>
      <dgm:spPr/>
    </dgm:pt>
    <dgm:pt modelId="{25620F1C-8E6F-49F9-8841-FC7EE2749E4E}" type="pres">
      <dgm:prSet presAssocID="{BE10CA15-2BF5-49C4-AE39-7840512C7DDF}" presName="Name13" presStyleLbl="parChTrans1D2" presStyleIdx="2" presStyleCnt="6"/>
      <dgm:spPr/>
    </dgm:pt>
    <dgm:pt modelId="{8A53F9A9-04C7-4431-A3D3-202363890C8D}" type="pres">
      <dgm:prSet presAssocID="{CE76FBE6-823E-406B-A6E1-1CD3AEC49791}" presName="childText" presStyleLbl="bgAcc1" presStyleIdx="2" presStyleCnt="6">
        <dgm:presLayoutVars>
          <dgm:bulletEnabled val="1"/>
        </dgm:presLayoutVars>
      </dgm:prSet>
      <dgm:spPr/>
    </dgm:pt>
    <dgm:pt modelId="{842536F1-D127-4417-8151-F679AF875809}" type="pres">
      <dgm:prSet presAssocID="{728341AD-DD35-4FA7-9A45-34DDDA95AA04}" presName="root" presStyleCnt="0"/>
      <dgm:spPr/>
    </dgm:pt>
    <dgm:pt modelId="{EB6E3112-ACFD-47D8-ADB9-7902F4889BC6}" type="pres">
      <dgm:prSet presAssocID="{728341AD-DD35-4FA7-9A45-34DDDA95AA04}" presName="rootComposite" presStyleCnt="0"/>
      <dgm:spPr/>
    </dgm:pt>
    <dgm:pt modelId="{FA768979-E915-421E-AAC2-C927EFF65A77}" type="pres">
      <dgm:prSet presAssocID="{728341AD-DD35-4FA7-9A45-34DDDA95AA04}" presName="rootText" presStyleLbl="node1" presStyleIdx="2" presStyleCnt="3"/>
      <dgm:spPr/>
    </dgm:pt>
    <dgm:pt modelId="{947CB48C-CB4E-4666-952C-7B462531F101}" type="pres">
      <dgm:prSet presAssocID="{728341AD-DD35-4FA7-9A45-34DDDA95AA04}" presName="rootConnector" presStyleLbl="node1" presStyleIdx="2" presStyleCnt="3"/>
      <dgm:spPr/>
    </dgm:pt>
    <dgm:pt modelId="{B995F7DA-A762-486E-ABA7-228187923561}" type="pres">
      <dgm:prSet presAssocID="{728341AD-DD35-4FA7-9A45-34DDDA95AA04}" presName="childShape" presStyleCnt="0"/>
      <dgm:spPr/>
    </dgm:pt>
    <dgm:pt modelId="{A57955CB-9CDD-4641-96F5-475280EAC841}" type="pres">
      <dgm:prSet presAssocID="{46C34E2E-2158-4F76-9713-E718BE2F3386}" presName="Name13" presStyleLbl="parChTrans1D2" presStyleIdx="3" presStyleCnt="6"/>
      <dgm:spPr/>
    </dgm:pt>
    <dgm:pt modelId="{70FEB89B-D596-43B8-9AD1-C1B035505177}" type="pres">
      <dgm:prSet presAssocID="{2F903AD8-45E5-4E22-8744-89BC100B9C7E}" presName="childText" presStyleLbl="bgAcc1" presStyleIdx="3" presStyleCnt="6">
        <dgm:presLayoutVars>
          <dgm:bulletEnabled val="1"/>
        </dgm:presLayoutVars>
      </dgm:prSet>
      <dgm:spPr/>
    </dgm:pt>
    <dgm:pt modelId="{314A63CF-6C00-458C-9942-3DD2B8B7D8D9}" type="pres">
      <dgm:prSet presAssocID="{02929843-AF60-4DA6-AF76-D91096963F95}" presName="Name13" presStyleLbl="parChTrans1D2" presStyleIdx="4" presStyleCnt="6"/>
      <dgm:spPr/>
    </dgm:pt>
    <dgm:pt modelId="{4D26E0EE-564B-45E5-8D61-3D01EBD8FF6B}" type="pres">
      <dgm:prSet presAssocID="{33A3E32E-D5BB-4A3F-B490-9EC751D2D472}" presName="childText" presStyleLbl="bgAcc1" presStyleIdx="4" presStyleCnt="6">
        <dgm:presLayoutVars>
          <dgm:bulletEnabled val="1"/>
        </dgm:presLayoutVars>
      </dgm:prSet>
      <dgm:spPr/>
    </dgm:pt>
    <dgm:pt modelId="{CDC06E87-137B-423A-A665-3F915F37DA84}" type="pres">
      <dgm:prSet presAssocID="{33DED2C2-DB2F-4A43-8554-30D03ECE43B0}" presName="Name13" presStyleLbl="parChTrans1D2" presStyleIdx="5" presStyleCnt="6"/>
      <dgm:spPr/>
    </dgm:pt>
    <dgm:pt modelId="{AA421FA7-BCB5-4784-A90E-820C3111BB69}" type="pres">
      <dgm:prSet presAssocID="{763F3E4B-7E49-403D-A45A-F63227F45153}" presName="childText" presStyleLbl="bgAcc1" presStyleIdx="5" presStyleCnt="6">
        <dgm:presLayoutVars>
          <dgm:bulletEnabled val="1"/>
        </dgm:presLayoutVars>
      </dgm:prSet>
      <dgm:spPr/>
    </dgm:pt>
  </dgm:ptLst>
  <dgm:cxnLst>
    <dgm:cxn modelId="{CF760002-C41E-42A4-A265-AFFC2AAC8FA7}" srcId="{7ED84A95-D274-46FD-B93D-EDDDED90944C}" destId="{F7BDB970-0B36-4E06-8D86-A159F7AA5351}" srcOrd="0" destOrd="0" parTransId="{4907D66E-E35E-4062-B5AC-F8D7935D8564}" sibTransId="{AA756644-AFC4-47F4-8D56-8ABD5C32912C}"/>
    <dgm:cxn modelId="{1B4C1E07-F780-4C26-86B0-5BB3FE9F0786}" type="presOf" srcId="{F7BDB970-0B36-4E06-8D86-A159F7AA5351}" destId="{7B287B5A-4890-485C-97F8-CA801633BB4A}" srcOrd="0" destOrd="0" presId="urn:microsoft.com/office/officeart/2005/8/layout/hierarchy3"/>
    <dgm:cxn modelId="{034F091D-955E-4FFD-A1F9-3385555866D4}" type="presOf" srcId="{728341AD-DD35-4FA7-9A45-34DDDA95AA04}" destId="{947CB48C-CB4E-4666-952C-7B462531F101}" srcOrd="1" destOrd="0" presId="urn:microsoft.com/office/officeart/2005/8/layout/hierarchy3"/>
    <dgm:cxn modelId="{AD78D223-2B79-4888-A867-2506C9A5401E}" type="presOf" srcId="{7ED84A95-D274-46FD-B93D-EDDDED90944C}" destId="{B57EF7AA-72AA-4D02-AE75-C8AB51D8B923}" srcOrd="0" destOrd="0" presId="urn:microsoft.com/office/officeart/2005/8/layout/hierarchy3"/>
    <dgm:cxn modelId="{34D9F52B-42F6-4AD8-9E0F-FC9B4311C632}" srcId="{728341AD-DD35-4FA7-9A45-34DDDA95AA04}" destId="{763F3E4B-7E49-403D-A45A-F63227F45153}" srcOrd="2" destOrd="0" parTransId="{33DED2C2-DB2F-4A43-8554-30D03ECE43B0}" sibTransId="{56D8D892-CBAC-4DE1-A435-3F90C6D08A50}"/>
    <dgm:cxn modelId="{FD70BF32-3C24-4AE2-B016-E45AD9EC718A}" type="presOf" srcId="{07283681-182C-4D45-B0A6-1DE8F6547B09}" destId="{E27E8E49-7D50-44AB-85C4-270AAF54FBD3}" srcOrd="0" destOrd="0" presId="urn:microsoft.com/office/officeart/2005/8/layout/hierarchy3"/>
    <dgm:cxn modelId="{65C5055D-0E3C-42B8-B32C-78D757448FDD}" type="presOf" srcId="{2F903AD8-45E5-4E22-8744-89BC100B9C7E}" destId="{70FEB89B-D596-43B8-9AD1-C1B035505177}" srcOrd="0" destOrd="0" presId="urn:microsoft.com/office/officeart/2005/8/layout/hierarchy3"/>
    <dgm:cxn modelId="{CB0D245F-357C-4C0B-BBE4-EDA7379E6E65}" srcId="{728341AD-DD35-4FA7-9A45-34DDDA95AA04}" destId="{2F903AD8-45E5-4E22-8744-89BC100B9C7E}" srcOrd="0" destOrd="0" parTransId="{46C34E2E-2158-4F76-9713-E718BE2F3386}" sibTransId="{11CDDFA1-5215-484F-8D5C-80F88457409B}"/>
    <dgm:cxn modelId="{402D6D42-F789-4601-BBE0-0E139E4B6EF1}" type="presOf" srcId="{7ED84A95-D274-46FD-B93D-EDDDED90944C}" destId="{D06EB772-5DC5-44AB-912B-8C90912D27EE}" srcOrd="1" destOrd="0" presId="urn:microsoft.com/office/officeart/2005/8/layout/hierarchy3"/>
    <dgm:cxn modelId="{6DCFE777-731F-450C-A5DB-62117338AC81}" type="presOf" srcId="{569434DE-CD5C-4FA4-93E6-DA6F233E21F0}" destId="{C1E025FF-84D2-4ABF-BDBE-8CA9BB52BAC4}" srcOrd="0" destOrd="0" presId="urn:microsoft.com/office/officeart/2005/8/layout/hierarchy3"/>
    <dgm:cxn modelId="{1DA25888-AB5F-4E49-901A-70D7C780D428}" type="presOf" srcId="{46C34E2E-2158-4F76-9713-E718BE2F3386}" destId="{A57955CB-9CDD-4641-96F5-475280EAC841}" srcOrd="0" destOrd="0" presId="urn:microsoft.com/office/officeart/2005/8/layout/hierarchy3"/>
    <dgm:cxn modelId="{7E87119B-8B78-4375-A325-D10814EFE602}" type="presOf" srcId="{07283681-182C-4D45-B0A6-1DE8F6547B09}" destId="{C393E780-155D-41C2-96E6-F0B5E001837C}" srcOrd="1" destOrd="0" presId="urn:microsoft.com/office/officeart/2005/8/layout/hierarchy3"/>
    <dgm:cxn modelId="{8C8904A9-70E1-4100-B4C3-033BFE727964}" type="presOf" srcId="{3D9F33FF-12C7-409E-85C3-44582A5065F3}" destId="{C2D859BF-8F12-4AAE-8380-EB83EC8770DF}" srcOrd="0" destOrd="0" presId="urn:microsoft.com/office/officeart/2005/8/layout/hierarchy3"/>
    <dgm:cxn modelId="{D6B4F3AE-ECB9-4289-BA89-232B4624B325}" type="presOf" srcId="{4907D66E-E35E-4062-B5AC-F8D7935D8564}" destId="{6E563820-8666-4271-BFC9-DD8EC3B1B605}" srcOrd="0" destOrd="0" presId="urn:microsoft.com/office/officeart/2005/8/layout/hierarchy3"/>
    <dgm:cxn modelId="{864AC7BF-BAB3-49CB-8794-CFE0FCED4430}" type="presOf" srcId="{728341AD-DD35-4FA7-9A45-34DDDA95AA04}" destId="{FA768979-E915-421E-AAC2-C927EFF65A77}" srcOrd="0" destOrd="0" presId="urn:microsoft.com/office/officeart/2005/8/layout/hierarchy3"/>
    <dgm:cxn modelId="{0EAE90C8-E89B-49B7-91B8-41A061A5CF86}" srcId="{07283681-182C-4D45-B0A6-1DE8F6547B09}" destId="{E803A963-6C63-4E09-8D95-F994EF4281A7}" srcOrd="0" destOrd="0" parTransId="{3D9F33FF-12C7-409E-85C3-44582A5065F3}" sibTransId="{7C32EF1C-ED00-41B0-A050-8E0DA81442EE}"/>
    <dgm:cxn modelId="{E65833CC-FA32-4D2F-87B5-58E231DDC0C7}" type="presOf" srcId="{E803A963-6C63-4E09-8D95-F994EF4281A7}" destId="{9DB7C7B9-90CF-46CF-BEAC-ED40985E8D48}" srcOrd="0" destOrd="0" presId="urn:microsoft.com/office/officeart/2005/8/layout/hierarchy3"/>
    <dgm:cxn modelId="{6B2D97CC-B1E0-4979-AFCA-FF7E833A127F}" type="presOf" srcId="{BE10CA15-2BF5-49C4-AE39-7840512C7DDF}" destId="{25620F1C-8E6F-49F9-8841-FC7EE2749E4E}" srcOrd="0" destOrd="0" presId="urn:microsoft.com/office/officeart/2005/8/layout/hierarchy3"/>
    <dgm:cxn modelId="{845519D7-5D25-449E-AEE3-7BAEA2A8B5E5}" srcId="{569434DE-CD5C-4FA4-93E6-DA6F233E21F0}" destId="{728341AD-DD35-4FA7-9A45-34DDDA95AA04}" srcOrd="2" destOrd="0" parTransId="{E107C529-F67C-496A-B84B-F719087F48C4}" sibTransId="{877F1188-864C-4BED-9868-2CEFF67038FA}"/>
    <dgm:cxn modelId="{B4C8E6DC-C01B-4CA5-A2C5-144AC003C0E0}" srcId="{569434DE-CD5C-4FA4-93E6-DA6F233E21F0}" destId="{07283681-182C-4D45-B0A6-1DE8F6547B09}" srcOrd="1" destOrd="0" parTransId="{3176D301-A84B-4361-B669-010D401D2833}" sibTransId="{C2160CFD-649B-4CE2-8632-5BED80C36481}"/>
    <dgm:cxn modelId="{02B243E2-9604-4712-9B04-60AED281BC3C}" type="presOf" srcId="{CE76FBE6-823E-406B-A6E1-1CD3AEC49791}" destId="{8A53F9A9-04C7-4431-A3D3-202363890C8D}" srcOrd="0" destOrd="0" presId="urn:microsoft.com/office/officeart/2005/8/layout/hierarchy3"/>
    <dgm:cxn modelId="{393670E3-A898-4724-BBCE-3466A622A72B}" srcId="{07283681-182C-4D45-B0A6-1DE8F6547B09}" destId="{CE76FBE6-823E-406B-A6E1-1CD3AEC49791}" srcOrd="1" destOrd="0" parTransId="{BE10CA15-2BF5-49C4-AE39-7840512C7DDF}" sibTransId="{F8A0D236-7EE1-4910-86CB-4705508F2A27}"/>
    <dgm:cxn modelId="{54F724EB-A3AC-455D-B9BD-B2426267A825}" type="presOf" srcId="{02929843-AF60-4DA6-AF76-D91096963F95}" destId="{314A63CF-6C00-458C-9942-3DD2B8B7D8D9}" srcOrd="0" destOrd="0" presId="urn:microsoft.com/office/officeart/2005/8/layout/hierarchy3"/>
    <dgm:cxn modelId="{8DE5A5EB-3352-496B-833A-77B259B868EA}" type="presOf" srcId="{763F3E4B-7E49-403D-A45A-F63227F45153}" destId="{AA421FA7-BCB5-4784-A90E-820C3111BB69}" srcOrd="0" destOrd="0" presId="urn:microsoft.com/office/officeart/2005/8/layout/hierarchy3"/>
    <dgm:cxn modelId="{857A69F0-861B-4EA0-944D-C00C9D3B97CC}" type="presOf" srcId="{33A3E32E-D5BB-4A3F-B490-9EC751D2D472}" destId="{4D26E0EE-564B-45E5-8D61-3D01EBD8FF6B}" srcOrd="0" destOrd="0" presId="urn:microsoft.com/office/officeart/2005/8/layout/hierarchy3"/>
    <dgm:cxn modelId="{337CB5F0-981B-479E-9FA5-8E29CB9B8803}" type="presOf" srcId="{33DED2C2-DB2F-4A43-8554-30D03ECE43B0}" destId="{CDC06E87-137B-423A-A665-3F915F37DA84}" srcOrd="0" destOrd="0" presId="urn:microsoft.com/office/officeart/2005/8/layout/hierarchy3"/>
    <dgm:cxn modelId="{A3B6D1FB-B8D1-429F-B0A9-60EEDA3AE41E}" srcId="{728341AD-DD35-4FA7-9A45-34DDDA95AA04}" destId="{33A3E32E-D5BB-4A3F-B490-9EC751D2D472}" srcOrd="1" destOrd="0" parTransId="{02929843-AF60-4DA6-AF76-D91096963F95}" sibTransId="{F520E5D0-9B3D-4919-A199-223606296041}"/>
    <dgm:cxn modelId="{5E5055FF-B86C-49F4-9098-61EAF6731B2F}" srcId="{569434DE-CD5C-4FA4-93E6-DA6F233E21F0}" destId="{7ED84A95-D274-46FD-B93D-EDDDED90944C}" srcOrd="0" destOrd="0" parTransId="{ABDB2E02-F842-4C3F-8D23-F0F0C0794222}" sibTransId="{F90631B9-DF5A-4767-A0CC-35ABA0FDCDDF}"/>
    <dgm:cxn modelId="{884F977E-2376-42BB-875F-FEB7052CA2A0}" type="presParOf" srcId="{C1E025FF-84D2-4ABF-BDBE-8CA9BB52BAC4}" destId="{6CB91F44-8466-4447-8C63-8537004A9805}" srcOrd="0" destOrd="0" presId="urn:microsoft.com/office/officeart/2005/8/layout/hierarchy3"/>
    <dgm:cxn modelId="{6ADF6FA9-2C94-41F5-A0D6-308E305741C5}" type="presParOf" srcId="{6CB91F44-8466-4447-8C63-8537004A9805}" destId="{8E8335F5-8BC9-4AD2-B66A-3C1C61D51DC4}" srcOrd="0" destOrd="0" presId="urn:microsoft.com/office/officeart/2005/8/layout/hierarchy3"/>
    <dgm:cxn modelId="{27BB327B-359A-42C5-9267-3B9C95B4D67A}" type="presParOf" srcId="{8E8335F5-8BC9-4AD2-B66A-3C1C61D51DC4}" destId="{B57EF7AA-72AA-4D02-AE75-C8AB51D8B923}" srcOrd="0" destOrd="0" presId="urn:microsoft.com/office/officeart/2005/8/layout/hierarchy3"/>
    <dgm:cxn modelId="{7BC1F0CE-7C61-489C-BE74-3835FA7B65AA}" type="presParOf" srcId="{8E8335F5-8BC9-4AD2-B66A-3C1C61D51DC4}" destId="{D06EB772-5DC5-44AB-912B-8C90912D27EE}" srcOrd="1" destOrd="0" presId="urn:microsoft.com/office/officeart/2005/8/layout/hierarchy3"/>
    <dgm:cxn modelId="{9AF177F2-F442-4762-8C42-E5E68B592243}" type="presParOf" srcId="{6CB91F44-8466-4447-8C63-8537004A9805}" destId="{748ED5A0-49C9-48D0-8FAD-15476BA9CA99}" srcOrd="1" destOrd="0" presId="urn:microsoft.com/office/officeart/2005/8/layout/hierarchy3"/>
    <dgm:cxn modelId="{AAAAE7B0-3617-467B-918D-26BD42C1BC67}" type="presParOf" srcId="{748ED5A0-49C9-48D0-8FAD-15476BA9CA99}" destId="{6E563820-8666-4271-BFC9-DD8EC3B1B605}" srcOrd="0" destOrd="0" presId="urn:microsoft.com/office/officeart/2005/8/layout/hierarchy3"/>
    <dgm:cxn modelId="{C0E6AEA3-32D2-4176-9EE4-65BD569A190C}" type="presParOf" srcId="{748ED5A0-49C9-48D0-8FAD-15476BA9CA99}" destId="{7B287B5A-4890-485C-97F8-CA801633BB4A}" srcOrd="1" destOrd="0" presId="urn:microsoft.com/office/officeart/2005/8/layout/hierarchy3"/>
    <dgm:cxn modelId="{22411BF3-569F-4C12-A3E1-88E819666E4D}" type="presParOf" srcId="{C1E025FF-84D2-4ABF-BDBE-8CA9BB52BAC4}" destId="{21735311-650C-4DF0-8DD7-A33AC7692A84}" srcOrd="1" destOrd="0" presId="urn:microsoft.com/office/officeart/2005/8/layout/hierarchy3"/>
    <dgm:cxn modelId="{51272FA1-DBD1-4972-A52F-443BDD62B456}" type="presParOf" srcId="{21735311-650C-4DF0-8DD7-A33AC7692A84}" destId="{F05361CD-831E-44D4-9CF7-8DC3B6966278}" srcOrd="0" destOrd="0" presId="urn:microsoft.com/office/officeart/2005/8/layout/hierarchy3"/>
    <dgm:cxn modelId="{C2E6D7A1-CC84-49FA-B2E5-892DE120392D}" type="presParOf" srcId="{F05361CD-831E-44D4-9CF7-8DC3B6966278}" destId="{E27E8E49-7D50-44AB-85C4-270AAF54FBD3}" srcOrd="0" destOrd="0" presId="urn:microsoft.com/office/officeart/2005/8/layout/hierarchy3"/>
    <dgm:cxn modelId="{F9E00A84-1E46-47E3-A142-722E3FA47F4D}" type="presParOf" srcId="{F05361CD-831E-44D4-9CF7-8DC3B6966278}" destId="{C393E780-155D-41C2-96E6-F0B5E001837C}" srcOrd="1" destOrd="0" presId="urn:microsoft.com/office/officeart/2005/8/layout/hierarchy3"/>
    <dgm:cxn modelId="{5B9350F3-7EAA-4682-BA76-9221A5F65E42}" type="presParOf" srcId="{21735311-650C-4DF0-8DD7-A33AC7692A84}" destId="{88E03F24-0B51-45AF-B242-C1DBC082F21D}" srcOrd="1" destOrd="0" presId="urn:microsoft.com/office/officeart/2005/8/layout/hierarchy3"/>
    <dgm:cxn modelId="{553BFF23-2B4D-4A4E-AF7E-0C8763BC5705}" type="presParOf" srcId="{88E03F24-0B51-45AF-B242-C1DBC082F21D}" destId="{C2D859BF-8F12-4AAE-8380-EB83EC8770DF}" srcOrd="0" destOrd="0" presId="urn:microsoft.com/office/officeart/2005/8/layout/hierarchy3"/>
    <dgm:cxn modelId="{F1D48A72-93AF-4AB6-8FB1-080AA536D5B1}" type="presParOf" srcId="{88E03F24-0B51-45AF-B242-C1DBC082F21D}" destId="{9DB7C7B9-90CF-46CF-BEAC-ED40985E8D48}" srcOrd="1" destOrd="0" presId="urn:microsoft.com/office/officeart/2005/8/layout/hierarchy3"/>
    <dgm:cxn modelId="{DFF2110B-1510-445E-841F-24E5424B74ED}" type="presParOf" srcId="{88E03F24-0B51-45AF-B242-C1DBC082F21D}" destId="{25620F1C-8E6F-49F9-8841-FC7EE2749E4E}" srcOrd="2" destOrd="0" presId="urn:microsoft.com/office/officeart/2005/8/layout/hierarchy3"/>
    <dgm:cxn modelId="{2929DF4F-D0C0-42F4-A828-80F3C9F93AF8}" type="presParOf" srcId="{88E03F24-0B51-45AF-B242-C1DBC082F21D}" destId="{8A53F9A9-04C7-4431-A3D3-202363890C8D}" srcOrd="3" destOrd="0" presId="urn:microsoft.com/office/officeart/2005/8/layout/hierarchy3"/>
    <dgm:cxn modelId="{C7B166B4-071E-484A-9BE9-261F3E1BA6C2}" type="presParOf" srcId="{C1E025FF-84D2-4ABF-BDBE-8CA9BB52BAC4}" destId="{842536F1-D127-4417-8151-F679AF875809}" srcOrd="2" destOrd="0" presId="urn:microsoft.com/office/officeart/2005/8/layout/hierarchy3"/>
    <dgm:cxn modelId="{E85C4815-46D0-4F3F-9DA0-777F360E5708}" type="presParOf" srcId="{842536F1-D127-4417-8151-F679AF875809}" destId="{EB6E3112-ACFD-47D8-ADB9-7902F4889BC6}" srcOrd="0" destOrd="0" presId="urn:microsoft.com/office/officeart/2005/8/layout/hierarchy3"/>
    <dgm:cxn modelId="{93A5D57E-43FE-463C-A2E3-26E28AD51DF3}" type="presParOf" srcId="{EB6E3112-ACFD-47D8-ADB9-7902F4889BC6}" destId="{FA768979-E915-421E-AAC2-C927EFF65A77}" srcOrd="0" destOrd="0" presId="urn:microsoft.com/office/officeart/2005/8/layout/hierarchy3"/>
    <dgm:cxn modelId="{160314DD-878A-48FA-90D4-9A29576E2BBE}" type="presParOf" srcId="{EB6E3112-ACFD-47D8-ADB9-7902F4889BC6}" destId="{947CB48C-CB4E-4666-952C-7B462531F101}" srcOrd="1" destOrd="0" presId="urn:microsoft.com/office/officeart/2005/8/layout/hierarchy3"/>
    <dgm:cxn modelId="{C55DDC2B-7BBE-437F-8BF3-4B1167A099C4}" type="presParOf" srcId="{842536F1-D127-4417-8151-F679AF875809}" destId="{B995F7DA-A762-486E-ABA7-228187923561}" srcOrd="1" destOrd="0" presId="urn:microsoft.com/office/officeart/2005/8/layout/hierarchy3"/>
    <dgm:cxn modelId="{AD0A64F3-45DE-4413-8886-4129B020503B}" type="presParOf" srcId="{B995F7DA-A762-486E-ABA7-228187923561}" destId="{A57955CB-9CDD-4641-96F5-475280EAC841}" srcOrd="0" destOrd="0" presId="urn:microsoft.com/office/officeart/2005/8/layout/hierarchy3"/>
    <dgm:cxn modelId="{113111AC-2E3D-408A-8377-007773C6C1C2}" type="presParOf" srcId="{B995F7DA-A762-486E-ABA7-228187923561}" destId="{70FEB89B-D596-43B8-9AD1-C1B035505177}" srcOrd="1" destOrd="0" presId="urn:microsoft.com/office/officeart/2005/8/layout/hierarchy3"/>
    <dgm:cxn modelId="{FB17649D-6518-4254-9359-05E84AD433F2}" type="presParOf" srcId="{B995F7DA-A762-486E-ABA7-228187923561}" destId="{314A63CF-6C00-458C-9942-3DD2B8B7D8D9}" srcOrd="2" destOrd="0" presId="urn:microsoft.com/office/officeart/2005/8/layout/hierarchy3"/>
    <dgm:cxn modelId="{B7135FC0-6211-4160-9EFC-E9C918C605B6}" type="presParOf" srcId="{B995F7DA-A762-486E-ABA7-228187923561}" destId="{4D26E0EE-564B-45E5-8D61-3D01EBD8FF6B}" srcOrd="3" destOrd="0" presId="urn:microsoft.com/office/officeart/2005/8/layout/hierarchy3"/>
    <dgm:cxn modelId="{B460EF26-262C-4BDD-B1CD-FFC6B9D6D3F9}" type="presParOf" srcId="{B995F7DA-A762-486E-ABA7-228187923561}" destId="{CDC06E87-137B-423A-A665-3F915F37DA84}" srcOrd="4" destOrd="0" presId="urn:microsoft.com/office/officeart/2005/8/layout/hierarchy3"/>
    <dgm:cxn modelId="{359EA306-2FC6-471E-84DD-8B212B2BE73F}" type="presParOf" srcId="{B995F7DA-A762-486E-ABA7-228187923561}" destId="{AA421FA7-BCB5-4784-A90E-820C3111BB69}"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69434DE-CD5C-4FA4-93E6-DA6F233E21F0}" type="doc">
      <dgm:prSet loTypeId="urn:microsoft.com/office/officeart/2005/8/layout/hierarchy3" loCatId="list" qsTypeId="urn:microsoft.com/office/officeart/2005/8/quickstyle/simple1" qsCatId="simple" csTypeId="urn:microsoft.com/office/officeart/2005/8/colors/accent1_1" csCatId="accent1" phldr="1"/>
      <dgm:spPr/>
      <dgm:t>
        <a:bodyPr/>
        <a:lstStyle/>
        <a:p>
          <a:endParaRPr lang="en-US"/>
        </a:p>
      </dgm:t>
    </dgm:pt>
    <dgm:pt modelId="{7ED84A95-D274-46FD-B93D-EDDDED90944C}">
      <dgm:prSet phldrT="[Text]"/>
      <dgm:spPr/>
      <dgm:t>
        <a:bodyPr/>
        <a:lstStyle/>
        <a:p>
          <a:r>
            <a:rPr lang="en-US" dirty="0">
              <a:latin typeface="+mj-lt"/>
            </a:rPr>
            <a:t>Unified Customer Profile</a:t>
          </a:r>
        </a:p>
      </dgm:t>
    </dgm:pt>
    <dgm:pt modelId="{ABDB2E02-F842-4C3F-8D23-F0F0C0794222}" type="parTrans" cxnId="{5E5055FF-B86C-49F4-9098-61EAF6731B2F}">
      <dgm:prSet/>
      <dgm:spPr/>
      <dgm:t>
        <a:bodyPr/>
        <a:lstStyle/>
        <a:p>
          <a:endParaRPr lang="en-US"/>
        </a:p>
      </dgm:t>
    </dgm:pt>
    <dgm:pt modelId="{F90631B9-DF5A-4767-A0CC-35ABA0FDCDDF}" type="sibTrans" cxnId="{5E5055FF-B86C-49F4-9098-61EAF6731B2F}">
      <dgm:prSet/>
      <dgm:spPr/>
      <dgm:t>
        <a:bodyPr/>
        <a:lstStyle/>
        <a:p>
          <a:endParaRPr lang="en-US"/>
        </a:p>
      </dgm:t>
    </dgm:pt>
    <dgm:pt modelId="{F7BDB970-0B36-4E06-8D86-A159F7AA5351}">
      <dgm:prSet phldrT="[Text]"/>
      <dgm:spPr/>
      <dgm:t>
        <a:bodyPr/>
        <a:lstStyle/>
        <a:p>
          <a:r>
            <a:rPr lang="en-US" dirty="0"/>
            <a:t>Basic User</a:t>
          </a:r>
        </a:p>
      </dgm:t>
    </dgm:pt>
    <dgm:pt modelId="{4907D66E-E35E-4062-B5AC-F8D7935D8564}" type="parTrans" cxnId="{CF760002-C41E-42A4-A265-AFFC2AAC8FA7}">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AA756644-AFC4-47F4-8D56-8ABD5C32912C}" type="sibTrans" cxnId="{CF760002-C41E-42A4-A265-AFFC2AAC8FA7}">
      <dgm:prSet/>
      <dgm:spPr/>
      <dgm:t>
        <a:bodyPr/>
        <a:lstStyle/>
        <a:p>
          <a:endParaRPr lang="en-US"/>
        </a:p>
      </dgm:t>
    </dgm:pt>
    <dgm:pt modelId="{EA693C41-6324-40A5-A55F-C7ACE3959833}">
      <dgm:prSet phldrT="[Text]"/>
      <dgm:spPr/>
      <dgm:t>
        <a:bodyPr/>
        <a:lstStyle/>
        <a:p>
          <a:r>
            <a:rPr lang="en-US" dirty="0"/>
            <a:t>MC4FSI Basic User</a:t>
          </a:r>
        </a:p>
      </dgm:t>
    </dgm:pt>
    <dgm:pt modelId="{4F1C5FC4-1D65-4536-BAE5-CE2150C9E1F0}" type="parTrans" cxnId="{21ACA544-B05D-4351-AF80-967B7AC6E24B}">
      <dgm:prSet>
        <dgm:style>
          <a:lnRef idx="1">
            <a:schemeClr val="dk1"/>
          </a:lnRef>
          <a:fillRef idx="0">
            <a:schemeClr val="dk1"/>
          </a:fillRef>
          <a:effectRef idx="0">
            <a:schemeClr val="dk1"/>
          </a:effectRef>
          <a:fontRef idx="minor">
            <a:schemeClr val="tx1"/>
          </a:fontRef>
        </dgm:style>
      </dgm:prSet>
      <dgm:spPr/>
      <dgm:t>
        <a:bodyPr/>
        <a:lstStyle/>
        <a:p>
          <a:endParaRPr lang="en-US">
            <a:solidFill>
              <a:schemeClr val="tx1"/>
            </a:solidFill>
          </a:endParaRPr>
        </a:p>
      </dgm:t>
    </dgm:pt>
    <dgm:pt modelId="{596E2E87-9237-4577-8C81-607D41943519}" type="sibTrans" cxnId="{21ACA544-B05D-4351-AF80-967B7AC6E24B}">
      <dgm:prSet/>
      <dgm:spPr/>
      <dgm:t>
        <a:bodyPr/>
        <a:lstStyle/>
        <a:p>
          <a:endParaRPr lang="en-US"/>
        </a:p>
      </dgm:t>
    </dgm:pt>
    <dgm:pt modelId="{07283681-182C-4D45-B0A6-1DE8F6547B09}">
      <dgm:prSet phldrT="[Text]"/>
      <dgm:spPr/>
      <dgm:t>
        <a:bodyPr/>
        <a:lstStyle/>
        <a:p>
          <a:r>
            <a:rPr lang="en-US" dirty="0">
              <a:latin typeface="+mj-lt"/>
            </a:rPr>
            <a:t>Customer Onboarding</a:t>
          </a:r>
        </a:p>
      </dgm:t>
    </dgm:pt>
    <dgm:pt modelId="{3176D301-A84B-4361-B669-010D401D2833}" type="parTrans" cxnId="{B4C8E6DC-C01B-4CA5-A2C5-144AC003C0E0}">
      <dgm:prSet/>
      <dgm:spPr/>
      <dgm:t>
        <a:bodyPr/>
        <a:lstStyle/>
        <a:p>
          <a:endParaRPr lang="en-US"/>
        </a:p>
      </dgm:t>
    </dgm:pt>
    <dgm:pt modelId="{C2160CFD-649B-4CE2-8632-5BED80C36481}" type="sibTrans" cxnId="{B4C8E6DC-C01B-4CA5-A2C5-144AC003C0E0}">
      <dgm:prSet/>
      <dgm:spPr/>
      <dgm:t>
        <a:bodyPr/>
        <a:lstStyle/>
        <a:p>
          <a:endParaRPr lang="en-US"/>
        </a:p>
      </dgm:t>
    </dgm:pt>
    <dgm:pt modelId="{CE76FBE6-823E-406B-A6E1-1CD3AEC49791}">
      <dgm:prSet phldrT="[Text]"/>
      <dgm:spPr/>
      <dgm:t>
        <a:bodyPr/>
        <a:lstStyle/>
        <a:p>
          <a:r>
            <a:rPr lang="en-US"/>
            <a:t>MC4FSI Basic User</a:t>
          </a:r>
          <a:endParaRPr lang="en-US" dirty="0"/>
        </a:p>
      </dgm:t>
    </dgm:pt>
    <dgm:pt modelId="{BE10CA15-2BF5-49C4-AE39-7840512C7DDF}" type="parTrans" cxnId="{393670E3-A898-4724-BBCE-3466A622A72B}">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F8A0D236-7EE1-4910-86CB-4705508F2A27}" type="sibTrans" cxnId="{393670E3-A898-4724-BBCE-3466A622A72B}">
      <dgm:prSet/>
      <dgm:spPr/>
      <dgm:t>
        <a:bodyPr/>
        <a:lstStyle/>
        <a:p>
          <a:endParaRPr lang="en-US"/>
        </a:p>
      </dgm:t>
    </dgm:pt>
    <dgm:pt modelId="{C1123A14-A50B-4A0C-894C-D0D25C096A90}">
      <dgm:prSet phldrT="[Text]"/>
      <dgm:spPr/>
      <dgm:t>
        <a:bodyPr/>
        <a:lstStyle/>
        <a:p>
          <a:r>
            <a:rPr lang="en-US" dirty="0"/>
            <a:t>Loan Manager</a:t>
          </a:r>
        </a:p>
      </dgm:t>
    </dgm:pt>
    <dgm:pt modelId="{1D5CDB37-F44D-47C4-B968-F023EBD55713}" type="parTrans" cxnId="{C4521964-7624-4A78-8B2C-1DEE80E873F8}">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2B8BDC6A-ACAD-45D2-B948-3806D63CC319}" type="sibTrans" cxnId="{C4521964-7624-4A78-8B2C-1DEE80E873F8}">
      <dgm:prSet/>
      <dgm:spPr/>
      <dgm:t>
        <a:bodyPr/>
        <a:lstStyle/>
        <a:p>
          <a:endParaRPr lang="en-US"/>
        </a:p>
      </dgm:t>
    </dgm:pt>
    <dgm:pt modelId="{728341AD-DD35-4FA7-9A45-34DDDA95AA04}">
      <dgm:prSet/>
      <dgm:spPr/>
      <dgm:t>
        <a:bodyPr/>
        <a:lstStyle/>
        <a:p>
          <a:r>
            <a:rPr lang="en-US" dirty="0">
              <a:latin typeface="+mj-lt"/>
            </a:rPr>
            <a:t>Collaboration Manager</a:t>
          </a:r>
        </a:p>
      </dgm:t>
    </dgm:pt>
    <dgm:pt modelId="{E107C529-F67C-496A-B84B-F719087F48C4}" type="parTrans" cxnId="{845519D7-5D25-449E-AEE3-7BAEA2A8B5E5}">
      <dgm:prSet/>
      <dgm:spPr/>
      <dgm:t>
        <a:bodyPr/>
        <a:lstStyle/>
        <a:p>
          <a:endParaRPr lang="en-US"/>
        </a:p>
      </dgm:t>
    </dgm:pt>
    <dgm:pt modelId="{877F1188-864C-4BED-9868-2CEFF67038FA}" type="sibTrans" cxnId="{845519D7-5D25-449E-AEE3-7BAEA2A8B5E5}">
      <dgm:prSet/>
      <dgm:spPr/>
      <dgm:t>
        <a:bodyPr/>
        <a:lstStyle/>
        <a:p>
          <a:endParaRPr lang="en-US"/>
        </a:p>
      </dgm:t>
    </dgm:pt>
    <dgm:pt modelId="{2F903AD8-45E5-4E22-8744-89BC100B9C7E}">
      <dgm:prSet/>
      <dgm:spPr/>
      <dgm:t>
        <a:bodyPr/>
        <a:lstStyle/>
        <a:p>
          <a:r>
            <a:rPr lang="en-US" dirty="0"/>
            <a:t>Collaboration Toolkit User</a:t>
          </a:r>
        </a:p>
      </dgm:t>
    </dgm:pt>
    <dgm:pt modelId="{46C34E2E-2158-4F76-9713-E718BE2F3386}" type="parTrans" cxnId="{CB0D245F-357C-4C0B-BBE4-EDA7379E6E65}">
      <dgm:prSet/>
      <dgm:spPr/>
      <dgm:t>
        <a:bodyPr/>
        <a:lstStyle/>
        <a:p>
          <a:endParaRPr lang="en-US"/>
        </a:p>
      </dgm:t>
    </dgm:pt>
    <dgm:pt modelId="{11CDDFA1-5215-484F-8D5C-80F88457409B}" type="sibTrans" cxnId="{CB0D245F-357C-4C0B-BBE4-EDA7379E6E65}">
      <dgm:prSet/>
      <dgm:spPr/>
      <dgm:t>
        <a:bodyPr/>
        <a:lstStyle/>
        <a:p>
          <a:endParaRPr lang="en-US"/>
        </a:p>
      </dgm:t>
    </dgm:pt>
    <dgm:pt modelId="{E803A963-6C63-4E09-8D95-F994EF4281A7}">
      <dgm:prSet/>
      <dgm:spPr/>
      <dgm:t>
        <a:bodyPr/>
        <a:lstStyle/>
        <a:p>
          <a:r>
            <a:rPr lang="en-US" dirty="0"/>
            <a:t>Basic User</a:t>
          </a:r>
        </a:p>
      </dgm:t>
    </dgm:pt>
    <dgm:pt modelId="{3D9F33FF-12C7-409E-85C3-44582A5065F3}" type="parTrans" cxnId="{0EAE90C8-E89B-49B7-91B8-41A061A5CF86}">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7C32EF1C-ED00-41B0-A050-8E0DA81442EE}" type="sibTrans" cxnId="{0EAE90C8-E89B-49B7-91B8-41A061A5CF86}">
      <dgm:prSet/>
      <dgm:spPr/>
      <dgm:t>
        <a:bodyPr/>
        <a:lstStyle/>
        <a:p>
          <a:endParaRPr lang="en-US"/>
        </a:p>
      </dgm:t>
    </dgm:pt>
    <dgm:pt modelId="{DCD48FDE-EE6D-4BA4-A015-71513E45A663}">
      <dgm:prSet/>
      <dgm:spPr/>
      <dgm:t>
        <a:bodyPr/>
        <a:lstStyle/>
        <a:p>
          <a:r>
            <a:rPr lang="en-US" dirty="0"/>
            <a:t>Collaboration Manager for Loans User</a:t>
          </a:r>
        </a:p>
      </dgm:t>
    </dgm:pt>
    <dgm:pt modelId="{55814D6E-06AD-42DF-87AF-4EDA6BC66966}" type="parTrans" cxnId="{64D05F4C-2DC8-434B-9DF2-9E344CB1DF0C}">
      <dgm:prSet/>
      <dgm:spPr/>
      <dgm:t>
        <a:bodyPr/>
        <a:lstStyle/>
        <a:p>
          <a:endParaRPr lang="en-US"/>
        </a:p>
      </dgm:t>
    </dgm:pt>
    <dgm:pt modelId="{6EEFB2F5-109A-4013-BB1D-7615524850E8}" type="sibTrans" cxnId="{64D05F4C-2DC8-434B-9DF2-9E344CB1DF0C}">
      <dgm:prSet/>
      <dgm:spPr/>
      <dgm:t>
        <a:bodyPr/>
        <a:lstStyle/>
        <a:p>
          <a:endParaRPr lang="en-US"/>
        </a:p>
      </dgm:t>
    </dgm:pt>
    <dgm:pt modelId="{25BAF9A7-66A2-4AC5-A796-1D8D48F9D724}">
      <dgm:prSet/>
      <dgm:spPr/>
      <dgm:t>
        <a:bodyPr/>
        <a:lstStyle/>
        <a:p>
          <a:r>
            <a:rPr lang="en-US" dirty="0"/>
            <a:t>Loan Officer</a:t>
          </a:r>
        </a:p>
      </dgm:t>
    </dgm:pt>
    <dgm:pt modelId="{B1F9F138-7F98-4864-9269-6D094E0FA7FA}" type="parTrans" cxnId="{D32886F4-7B91-4E72-BBCD-E99C15A56337}">
      <dgm:prSet/>
      <dgm:spPr/>
      <dgm:t>
        <a:bodyPr/>
        <a:lstStyle/>
        <a:p>
          <a:endParaRPr lang="en-US"/>
        </a:p>
      </dgm:t>
    </dgm:pt>
    <dgm:pt modelId="{655E82E7-A5B2-4E14-B379-576B3BD7078F}" type="sibTrans" cxnId="{D32886F4-7B91-4E72-BBCD-E99C15A56337}">
      <dgm:prSet/>
      <dgm:spPr/>
      <dgm:t>
        <a:bodyPr/>
        <a:lstStyle/>
        <a:p>
          <a:endParaRPr lang="en-US"/>
        </a:p>
      </dgm:t>
    </dgm:pt>
    <dgm:pt modelId="{FE9E5FE8-0C2E-45D6-A19C-177A2F6CDB1D}">
      <dgm:prSet phldrT="[Text]"/>
      <dgm:spPr/>
      <dgm:t>
        <a:bodyPr/>
        <a:lstStyle/>
        <a:p>
          <a:r>
            <a:rPr lang="en-US" dirty="0"/>
            <a:t>Retail Banking – contributor</a:t>
          </a:r>
        </a:p>
      </dgm:t>
    </dgm:pt>
    <dgm:pt modelId="{DC61449F-4334-470B-B253-4D017739C229}" type="parTrans" cxnId="{5502E6CD-3C56-467C-8BC2-417FAC967384}">
      <dgm:prSet/>
      <dgm:spPr/>
      <dgm:t>
        <a:bodyPr/>
        <a:lstStyle/>
        <a:p>
          <a:endParaRPr lang="en-IN"/>
        </a:p>
      </dgm:t>
    </dgm:pt>
    <dgm:pt modelId="{6C314E21-8510-41E8-BB08-FF3E1D074EB5}" type="sibTrans" cxnId="{5502E6CD-3C56-467C-8BC2-417FAC967384}">
      <dgm:prSet/>
      <dgm:spPr/>
      <dgm:t>
        <a:bodyPr/>
        <a:lstStyle/>
        <a:p>
          <a:endParaRPr lang="en-IN"/>
        </a:p>
      </dgm:t>
    </dgm:pt>
    <dgm:pt modelId="{3483A6CB-88F1-4DCA-93A3-2EAB79F82BD0}">
      <dgm:prSet phldrT="[Text]"/>
      <dgm:spPr/>
      <dgm:t>
        <a:bodyPr/>
        <a:lstStyle/>
        <a:p>
          <a:r>
            <a:rPr lang="en-US" dirty="0"/>
            <a:t>Relationship manager </a:t>
          </a:r>
        </a:p>
      </dgm:t>
    </dgm:pt>
    <dgm:pt modelId="{052EED78-C7E9-4C2B-AD36-54C50FAE5538}" type="parTrans" cxnId="{B0498CBB-9818-43E5-9374-7FD87C4F65A4}">
      <dgm:prSet/>
      <dgm:spPr/>
      <dgm:t>
        <a:bodyPr/>
        <a:lstStyle/>
        <a:p>
          <a:endParaRPr lang="en-IN"/>
        </a:p>
      </dgm:t>
    </dgm:pt>
    <dgm:pt modelId="{AEF76EA8-591E-43E2-AC0D-4417DC21A8D7}" type="sibTrans" cxnId="{B0498CBB-9818-43E5-9374-7FD87C4F65A4}">
      <dgm:prSet/>
      <dgm:spPr/>
      <dgm:t>
        <a:bodyPr/>
        <a:lstStyle/>
        <a:p>
          <a:endParaRPr lang="en-IN"/>
        </a:p>
      </dgm:t>
    </dgm:pt>
    <dgm:pt modelId="{D20B973A-7C56-4639-93BE-83DF79054CC7}">
      <dgm:prSet phldrT="[Text]"/>
      <dgm:spPr/>
      <dgm:t>
        <a:bodyPr/>
        <a:lstStyle/>
        <a:p>
          <a:r>
            <a:rPr lang="en-US" dirty="0"/>
            <a:t>Financial Intelligence user (optional for UCP and CI)</a:t>
          </a:r>
        </a:p>
      </dgm:t>
    </dgm:pt>
    <dgm:pt modelId="{811738A9-B049-4FBD-AFC6-3ADEE94D5ABC}" type="parTrans" cxnId="{E9FAEFE4-30B9-493C-9BC0-9D5D41507D75}">
      <dgm:prSet/>
      <dgm:spPr/>
      <dgm:t>
        <a:bodyPr/>
        <a:lstStyle/>
        <a:p>
          <a:endParaRPr lang="en-IN"/>
        </a:p>
      </dgm:t>
    </dgm:pt>
    <dgm:pt modelId="{76BDC1DA-F8E3-444C-A11D-47F1F9E7CC4F}" type="sibTrans" cxnId="{E9FAEFE4-30B9-493C-9BC0-9D5D41507D75}">
      <dgm:prSet/>
      <dgm:spPr/>
      <dgm:t>
        <a:bodyPr/>
        <a:lstStyle/>
        <a:p>
          <a:endParaRPr lang="en-IN"/>
        </a:p>
      </dgm:t>
    </dgm:pt>
    <dgm:pt modelId="{C1E025FF-84D2-4ABF-BDBE-8CA9BB52BAC4}" type="pres">
      <dgm:prSet presAssocID="{569434DE-CD5C-4FA4-93E6-DA6F233E21F0}" presName="diagram" presStyleCnt="0">
        <dgm:presLayoutVars>
          <dgm:chPref val="1"/>
          <dgm:dir/>
          <dgm:animOne val="branch"/>
          <dgm:animLvl val="lvl"/>
          <dgm:resizeHandles/>
        </dgm:presLayoutVars>
      </dgm:prSet>
      <dgm:spPr/>
    </dgm:pt>
    <dgm:pt modelId="{6CB91F44-8466-4447-8C63-8537004A9805}" type="pres">
      <dgm:prSet presAssocID="{7ED84A95-D274-46FD-B93D-EDDDED90944C}" presName="root" presStyleCnt="0"/>
      <dgm:spPr/>
    </dgm:pt>
    <dgm:pt modelId="{8E8335F5-8BC9-4AD2-B66A-3C1C61D51DC4}" type="pres">
      <dgm:prSet presAssocID="{7ED84A95-D274-46FD-B93D-EDDDED90944C}" presName="rootComposite" presStyleCnt="0"/>
      <dgm:spPr/>
    </dgm:pt>
    <dgm:pt modelId="{B57EF7AA-72AA-4D02-AE75-C8AB51D8B923}" type="pres">
      <dgm:prSet presAssocID="{7ED84A95-D274-46FD-B93D-EDDDED90944C}" presName="rootText" presStyleLbl="node1" presStyleIdx="0" presStyleCnt="3"/>
      <dgm:spPr/>
    </dgm:pt>
    <dgm:pt modelId="{D06EB772-5DC5-44AB-912B-8C90912D27EE}" type="pres">
      <dgm:prSet presAssocID="{7ED84A95-D274-46FD-B93D-EDDDED90944C}" presName="rootConnector" presStyleLbl="node1" presStyleIdx="0" presStyleCnt="3"/>
      <dgm:spPr/>
    </dgm:pt>
    <dgm:pt modelId="{748ED5A0-49C9-48D0-8FAD-15476BA9CA99}" type="pres">
      <dgm:prSet presAssocID="{7ED84A95-D274-46FD-B93D-EDDDED90944C}" presName="childShape" presStyleCnt="0"/>
      <dgm:spPr/>
    </dgm:pt>
    <dgm:pt modelId="{6E563820-8666-4271-BFC9-DD8EC3B1B605}" type="pres">
      <dgm:prSet presAssocID="{4907D66E-E35E-4062-B5AC-F8D7935D8564}" presName="Name13" presStyleLbl="parChTrans1D2" presStyleIdx="0" presStyleCnt="11"/>
      <dgm:spPr/>
    </dgm:pt>
    <dgm:pt modelId="{7B287B5A-4890-485C-97F8-CA801633BB4A}" type="pres">
      <dgm:prSet presAssocID="{F7BDB970-0B36-4E06-8D86-A159F7AA5351}" presName="childText" presStyleLbl="bgAcc1" presStyleIdx="0" presStyleCnt="11">
        <dgm:presLayoutVars>
          <dgm:bulletEnabled val="1"/>
        </dgm:presLayoutVars>
      </dgm:prSet>
      <dgm:spPr/>
    </dgm:pt>
    <dgm:pt modelId="{1EEA27D5-F0A2-48F9-B6A5-B56930127CB0}" type="pres">
      <dgm:prSet presAssocID="{4F1C5FC4-1D65-4536-BAE5-CE2150C9E1F0}" presName="Name13" presStyleLbl="parChTrans1D2" presStyleIdx="1" presStyleCnt="11"/>
      <dgm:spPr/>
    </dgm:pt>
    <dgm:pt modelId="{D789285D-CFC4-4AB8-A3CF-396B81EE868E}" type="pres">
      <dgm:prSet presAssocID="{EA693C41-6324-40A5-A55F-C7ACE3959833}" presName="childText" presStyleLbl="bgAcc1" presStyleIdx="1" presStyleCnt="11">
        <dgm:presLayoutVars>
          <dgm:bulletEnabled val="1"/>
        </dgm:presLayoutVars>
      </dgm:prSet>
      <dgm:spPr/>
    </dgm:pt>
    <dgm:pt modelId="{561332E0-0D81-4CB6-9D99-0D67CE29F678}" type="pres">
      <dgm:prSet presAssocID="{DC61449F-4334-470B-B253-4D017739C229}" presName="Name13" presStyleLbl="parChTrans1D2" presStyleIdx="2" presStyleCnt="11"/>
      <dgm:spPr/>
    </dgm:pt>
    <dgm:pt modelId="{957CBDEB-668E-49B9-B9A6-AE968A2D5A40}" type="pres">
      <dgm:prSet presAssocID="{FE9E5FE8-0C2E-45D6-A19C-177A2F6CDB1D}" presName="childText" presStyleLbl="bgAcc1" presStyleIdx="2" presStyleCnt="11">
        <dgm:presLayoutVars>
          <dgm:bulletEnabled val="1"/>
        </dgm:presLayoutVars>
      </dgm:prSet>
      <dgm:spPr/>
    </dgm:pt>
    <dgm:pt modelId="{A06B2E77-2335-4F01-BCBA-483F21D96BBA}" type="pres">
      <dgm:prSet presAssocID="{052EED78-C7E9-4C2B-AD36-54C50FAE5538}" presName="Name13" presStyleLbl="parChTrans1D2" presStyleIdx="3" presStyleCnt="11"/>
      <dgm:spPr/>
    </dgm:pt>
    <dgm:pt modelId="{7876A61A-61DA-432F-BFCF-D040FF8D4185}" type="pres">
      <dgm:prSet presAssocID="{3483A6CB-88F1-4DCA-93A3-2EAB79F82BD0}" presName="childText" presStyleLbl="bgAcc1" presStyleIdx="3" presStyleCnt="11">
        <dgm:presLayoutVars>
          <dgm:bulletEnabled val="1"/>
        </dgm:presLayoutVars>
      </dgm:prSet>
      <dgm:spPr/>
    </dgm:pt>
    <dgm:pt modelId="{874A1B6B-89B0-4121-9F07-F9ACA0424D7F}" type="pres">
      <dgm:prSet presAssocID="{811738A9-B049-4FBD-AFC6-3ADEE94D5ABC}" presName="Name13" presStyleLbl="parChTrans1D2" presStyleIdx="4" presStyleCnt="11"/>
      <dgm:spPr/>
    </dgm:pt>
    <dgm:pt modelId="{169548D8-BD57-4048-8E67-7757B3BFBB50}" type="pres">
      <dgm:prSet presAssocID="{D20B973A-7C56-4639-93BE-83DF79054CC7}" presName="childText" presStyleLbl="bgAcc1" presStyleIdx="4" presStyleCnt="11">
        <dgm:presLayoutVars>
          <dgm:bulletEnabled val="1"/>
        </dgm:presLayoutVars>
      </dgm:prSet>
      <dgm:spPr/>
    </dgm:pt>
    <dgm:pt modelId="{21735311-650C-4DF0-8DD7-A33AC7692A84}" type="pres">
      <dgm:prSet presAssocID="{07283681-182C-4D45-B0A6-1DE8F6547B09}" presName="root" presStyleCnt="0"/>
      <dgm:spPr/>
    </dgm:pt>
    <dgm:pt modelId="{F05361CD-831E-44D4-9CF7-8DC3B6966278}" type="pres">
      <dgm:prSet presAssocID="{07283681-182C-4D45-B0A6-1DE8F6547B09}" presName="rootComposite" presStyleCnt="0"/>
      <dgm:spPr/>
    </dgm:pt>
    <dgm:pt modelId="{E27E8E49-7D50-44AB-85C4-270AAF54FBD3}" type="pres">
      <dgm:prSet presAssocID="{07283681-182C-4D45-B0A6-1DE8F6547B09}" presName="rootText" presStyleLbl="node1" presStyleIdx="1" presStyleCnt="3"/>
      <dgm:spPr/>
    </dgm:pt>
    <dgm:pt modelId="{C393E780-155D-41C2-96E6-F0B5E001837C}" type="pres">
      <dgm:prSet presAssocID="{07283681-182C-4D45-B0A6-1DE8F6547B09}" presName="rootConnector" presStyleLbl="node1" presStyleIdx="1" presStyleCnt="3"/>
      <dgm:spPr/>
    </dgm:pt>
    <dgm:pt modelId="{88E03F24-0B51-45AF-B242-C1DBC082F21D}" type="pres">
      <dgm:prSet presAssocID="{07283681-182C-4D45-B0A6-1DE8F6547B09}" presName="childShape" presStyleCnt="0"/>
      <dgm:spPr/>
    </dgm:pt>
    <dgm:pt modelId="{C2D859BF-8F12-4AAE-8380-EB83EC8770DF}" type="pres">
      <dgm:prSet presAssocID="{3D9F33FF-12C7-409E-85C3-44582A5065F3}" presName="Name13" presStyleLbl="parChTrans1D2" presStyleIdx="5" presStyleCnt="11"/>
      <dgm:spPr/>
    </dgm:pt>
    <dgm:pt modelId="{9DB7C7B9-90CF-46CF-BEAC-ED40985E8D48}" type="pres">
      <dgm:prSet presAssocID="{E803A963-6C63-4E09-8D95-F994EF4281A7}" presName="childText" presStyleLbl="bgAcc1" presStyleIdx="5" presStyleCnt="11">
        <dgm:presLayoutVars>
          <dgm:bulletEnabled val="1"/>
        </dgm:presLayoutVars>
      </dgm:prSet>
      <dgm:spPr/>
    </dgm:pt>
    <dgm:pt modelId="{25620F1C-8E6F-49F9-8841-FC7EE2749E4E}" type="pres">
      <dgm:prSet presAssocID="{BE10CA15-2BF5-49C4-AE39-7840512C7DDF}" presName="Name13" presStyleLbl="parChTrans1D2" presStyleIdx="6" presStyleCnt="11"/>
      <dgm:spPr/>
    </dgm:pt>
    <dgm:pt modelId="{8A53F9A9-04C7-4431-A3D3-202363890C8D}" type="pres">
      <dgm:prSet presAssocID="{CE76FBE6-823E-406B-A6E1-1CD3AEC49791}" presName="childText" presStyleLbl="bgAcc1" presStyleIdx="6" presStyleCnt="11">
        <dgm:presLayoutVars>
          <dgm:bulletEnabled val="1"/>
        </dgm:presLayoutVars>
      </dgm:prSet>
      <dgm:spPr/>
    </dgm:pt>
    <dgm:pt modelId="{4166AF23-DC0C-44B4-89F0-B4582B4C9389}" type="pres">
      <dgm:prSet presAssocID="{1D5CDB37-F44D-47C4-B968-F023EBD55713}" presName="Name13" presStyleLbl="parChTrans1D2" presStyleIdx="7" presStyleCnt="11"/>
      <dgm:spPr/>
    </dgm:pt>
    <dgm:pt modelId="{D37D394D-F51C-412F-8E3D-B5FF739937FC}" type="pres">
      <dgm:prSet presAssocID="{C1123A14-A50B-4A0C-894C-D0D25C096A90}" presName="childText" presStyleLbl="bgAcc1" presStyleIdx="7" presStyleCnt="11">
        <dgm:presLayoutVars>
          <dgm:bulletEnabled val="1"/>
        </dgm:presLayoutVars>
      </dgm:prSet>
      <dgm:spPr/>
    </dgm:pt>
    <dgm:pt modelId="{842536F1-D127-4417-8151-F679AF875809}" type="pres">
      <dgm:prSet presAssocID="{728341AD-DD35-4FA7-9A45-34DDDA95AA04}" presName="root" presStyleCnt="0"/>
      <dgm:spPr/>
    </dgm:pt>
    <dgm:pt modelId="{EB6E3112-ACFD-47D8-ADB9-7902F4889BC6}" type="pres">
      <dgm:prSet presAssocID="{728341AD-DD35-4FA7-9A45-34DDDA95AA04}" presName="rootComposite" presStyleCnt="0"/>
      <dgm:spPr/>
    </dgm:pt>
    <dgm:pt modelId="{FA768979-E915-421E-AAC2-C927EFF65A77}" type="pres">
      <dgm:prSet presAssocID="{728341AD-DD35-4FA7-9A45-34DDDA95AA04}" presName="rootText" presStyleLbl="node1" presStyleIdx="2" presStyleCnt="3"/>
      <dgm:spPr/>
    </dgm:pt>
    <dgm:pt modelId="{947CB48C-CB4E-4666-952C-7B462531F101}" type="pres">
      <dgm:prSet presAssocID="{728341AD-DD35-4FA7-9A45-34DDDA95AA04}" presName="rootConnector" presStyleLbl="node1" presStyleIdx="2" presStyleCnt="3"/>
      <dgm:spPr/>
    </dgm:pt>
    <dgm:pt modelId="{B995F7DA-A762-486E-ABA7-228187923561}" type="pres">
      <dgm:prSet presAssocID="{728341AD-DD35-4FA7-9A45-34DDDA95AA04}" presName="childShape" presStyleCnt="0"/>
      <dgm:spPr/>
    </dgm:pt>
    <dgm:pt modelId="{A57955CB-9CDD-4641-96F5-475280EAC841}" type="pres">
      <dgm:prSet presAssocID="{46C34E2E-2158-4F76-9713-E718BE2F3386}" presName="Name13" presStyleLbl="parChTrans1D2" presStyleIdx="8" presStyleCnt="11"/>
      <dgm:spPr/>
    </dgm:pt>
    <dgm:pt modelId="{70FEB89B-D596-43B8-9AD1-C1B035505177}" type="pres">
      <dgm:prSet presAssocID="{2F903AD8-45E5-4E22-8744-89BC100B9C7E}" presName="childText" presStyleLbl="bgAcc1" presStyleIdx="8" presStyleCnt="11">
        <dgm:presLayoutVars>
          <dgm:bulletEnabled val="1"/>
        </dgm:presLayoutVars>
      </dgm:prSet>
      <dgm:spPr/>
    </dgm:pt>
    <dgm:pt modelId="{4FFA3757-6E59-4B1F-A80F-C91F66157650}" type="pres">
      <dgm:prSet presAssocID="{55814D6E-06AD-42DF-87AF-4EDA6BC66966}" presName="Name13" presStyleLbl="parChTrans1D2" presStyleIdx="9" presStyleCnt="11"/>
      <dgm:spPr/>
    </dgm:pt>
    <dgm:pt modelId="{CFB24212-9F99-4D4B-93BD-F80E8E0F5ECE}" type="pres">
      <dgm:prSet presAssocID="{DCD48FDE-EE6D-4BA4-A015-71513E45A663}" presName="childText" presStyleLbl="bgAcc1" presStyleIdx="9" presStyleCnt="11">
        <dgm:presLayoutVars>
          <dgm:bulletEnabled val="1"/>
        </dgm:presLayoutVars>
      </dgm:prSet>
      <dgm:spPr/>
    </dgm:pt>
    <dgm:pt modelId="{1E88FC39-0007-4CCB-9DC6-503E072A51DF}" type="pres">
      <dgm:prSet presAssocID="{B1F9F138-7F98-4864-9269-6D094E0FA7FA}" presName="Name13" presStyleLbl="parChTrans1D2" presStyleIdx="10" presStyleCnt="11"/>
      <dgm:spPr/>
    </dgm:pt>
    <dgm:pt modelId="{8756DBEA-E287-4415-9F11-DC2C1D496A10}" type="pres">
      <dgm:prSet presAssocID="{25BAF9A7-66A2-4AC5-A796-1D8D48F9D724}" presName="childText" presStyleLbl="bgAcc1" presStyleIdx="10" presStyleCnt="11">
        <dgm:presLayoutVars>
          <dgm:bulletEnabled val="1"/>
        </dgm:presLayoutVars>
      </dgm:prSet>
      <dgm:spPr/>
    </dgm:pt>
  </dgm:ptLst>
  <dgm:cxnLst>
    <dgm:cxn modelId="{CF760002-C41E-42A4-A265-AFFC2AAC8FA7}" srcId="{7ED84A95-D274-46FD-B93D-EDDDED90944C}" destId="{F7BDB970-0B36-4E06-8D86-A159F7AA5351}" srcOrd="0" destOrd="0" parTransId="{4907D66E-E35E-4062-B5AC-F8D7935D8564}" sibTransId="{AA756644-AFC4-47F4-8D56-8ABD5C32912C}"/>
    <dgm:cxn modelId="{1B4C1E07-F780-4C26-86B0-5BB3FE9F0786}" type="presOf" srcId="{F7BDB970-0B36-4E06-8D86-A159F7AA5351}" destId="{7B287B5A-4890-485C-97F8-CA801633BB4A}" srcOrd="0" destOrd="0" presId="urn:microsoft.com/office/officeart/2005/8/layout/hierarchy3"/>
    <dgm:cxn modelId="{034F091D-955E-4FFD-A1F9-3385555866D4}" type="presOf" srcId="{728341AD-DD35-4FA7-9A45-34DDDA95AA04}" destId="{947CB48C-CB4E-4666-952C-7B462531F101}" srcOrd="1" destOrd="0" presId="urn:microsoft.com/office/officeart/2005/8/layout/hierarchy3"/>
    <dgm:cxn modelId="{C06EAE1E-3DF6-4028-8B0B-E0FE7C05095A}" type="presOf" srcId="{811738A9-B049-4FBD-AFC6-3ADEE94D5ABC}" destId="{874A1B6B-89B0-4121-9F07-F9ACA0424D7F}" srcOrd="0" destOrd="0" presId="urn:microsoft.com/office/officeart/2005/8/layout/hierarchy3"/>
    <dgm:cxn modelId="{AD78D223-2B79-4888-A867-2506C9A5401E}" type="presOf" srcId="{7ED84A95-D274-46FD-B93D-EDDDED90944C}" destId="{B57EF7AA-72AA-4D02-AE75-C8AB51D8B923}" srcOrd="0" destOrd="0" presId="urn:microsoft.com/office/officeart/2005/8/layout/hierarchy3"/>
    <dgm:cxn modelId="{FD70BF32-3C24-4AE2-B016-E45AD9EC718A}" type="presOf" srcId="{07283681-182C-4D45-B0A6-1DE8F6547B09}" destId="{E27E8E49-7D50-44AB-85C4-270AAF54FBD3}" srcOrd="0" destOrd="0" presId="urn:microsoft.com/office/officeart/2005/8/layout/hierarchy3"/>
    <dgm:cxn modelId="{D00EE634-50C6-4D59-A70E-1DBA4210BA65}" type="presOf" srcId="{D20B973A-7C56-4639-93BE-83DF79054CC7}" destId="{169548D8-BD57-4048-8E67-7757B3BFBB50}" srcOrd="0" destOrd="0" presId="urn:microsoft.com/office/officeart/2005/8/layout/hierarchy3"/>
    <dgm:cxn modelId="{65C5055D-0E3C-42B8-B32C-78D757448FDD}" type="presOf" srcId="{2F903AD8-45E5-4E22-8744-89BC100B9C7E}" destId="{70FEB89B-D596-43B8-9AD1-C1B035505177}" srcOrd="0" destOrd="0" presId="urn:microsoft.com/office/officeart/2005/8/layout/hierarchy3"/>
    <dgm:cxn modelId="{CB0D245F-357C-4C0B-BBE4-EDA7379E6E65}" srcId="{728341AD-DD35-4FA7-9A45-34DDDA95AA04}" destId="{2F903AD8-45E5-4E22-8744-89BC100B9C7E}" srcOrd="0" destOrd="0" parTransId="{46C34E2E-2158-4F76-9713-E718BE2F3386}" sibTransId="{11CDDFA1-5215-484F-8D5C-80F88457409B}"/>
    <dgm:cxn modelId="{402D6D42-F789-4601-BBE0-0E139E4B6EF1}" type="presOf" srcId="{7ED84A95-D274-46FD-B93D-EDDDED90944C}" destId="{D06EB772-5DC5-44AB-912B-8C90912D27EE}" srcOrd="1" destOrd="0" presId="urn:microsoft.com/office/officeart/2005/8/layout/hierarchy3"/>
    <dgm:cxn modelId="{C4521964-7624-4A78-8B2C-1DEE80E873F8}" srcId="{07283681-182C-4D45-B0A6-1DE8F6547B09}" destId="{C1123A14-A50B-4A0C-894C-D0D25C096A90}" srcOrd="2" destOrd="0" parTransId="{1D5CDB37-F44D-47C4-B968-F023EBD55713}" sibTransId="{2B8BDC6A-ACAD-45D2-B948-3806D63CC319}"/>
    <dgm:cxn modelId="{21ACA544-B05D-4351-AF80-967B7AC6E24B}" srcId="{7ED84A95-D274-46FD-B93D-EDDDED90944C}" destId="{EA693C41-6324-40A5-A55F-C7ACE3959833}" srcOrd="1" destOrd="0" parTransId="{4F1C5FC4-1D65-4536-BAE5-CE2150C9E1F0}" sibTransId="{596E2E87-9237-4577-8C81-607D41943519}"/>
    <dgm:cxn modelId="{64D05F4C-2DC8-434B-9DF2-9E344CB1DF0C}" srcId="{728341AD-DD35-4FA7-9A45-34DDDA95AA04}" destId="{DCD48FDE-EE6D-4BA4-A015-71513E45A663}" srcOrd="1" destOrd="0" parTransId="{55814D6E-06AD-42DF-87AF-4EDA6BC66966}" sibTransId="{6EEFB2F5-109A-4013-BB1D-7615524850E8}"/>
    <dgm:cxn modelId="{B61C3D4F-049E-4064-9CF7-3E04E64218CC}" type="presOf" srcId="{052EED78-C7E9-4C2B-AD36-54C50FAE5538}" destId="{A06B2E77-2335-4F01-BCBA-483F21D96BBA}" srcOrd="0" destOrd="0" presId="urn:microsoft.com/office/officeart/2005/8/layout/hierarchy3"/>
    <dgm:cxn modelId="{2DA19850-DB2A-40DE-BD50-F1EE8BFDF4B3}" type="presOf" srcId="{C1123A14-A50B-4A0C-894C-D0D25C096A90}" destId="{D37D394D-F51C-412F-8E3D-B5FF739937FC}" srcOrd="0" destOrd="0" presId="urn:microsoft.com/office/officeart/2005/8/layout/hierarchy3"/>
    <dgm:cxn modelId="{6DCFE777-731F-450C-A5DB-62117338AC81}" type="presOf" srcId="{569434DE-CD5C-4FA4-93E6-DA6F233E21F0}" destId="{C1E025FF-84D2-4ABF-BDBE-8CA9BB52BAC4}" srcOrd="0" destOrd="0" presId="urn:microsoft.com/office/officeart/2005/8/layout/hierarchy3"/>
    <dgm:cxn modelId="{ED1E6F82-B234-459C-950B-62F897E9340F}" type="presOf" srcId="{B1F9F138-7F98-4864-9269-6D094E0FA7FA}" destId="{1E88FC39-0007-4CCB-9DC6-503E072A51DF}" srcOrd="0" destOrd="0" presId="urn:microsoft.com/office/officeart/2005/8/layout/hierarchy3"/>
    <dgm:cxn modelId="{1DA25888-AB5F-4E49-901A-70D7C780D428}" type="presOf" srcId="{46C34E2E-2158-4F76-9713-E718BE2F3386}" destId="{A57955CB-9CDD-4641-96F5-475280EAC841}" srcOrd="0" destOrd="0" presId="urn:microsoft.com/office/officeart/2005/8/layout/hierarchy3"/>
    <dgm:cxn modelId="{48DCBB89-38DA-4BEB-9B66-5E5A6F265544}" type="presOf" srcId="{DC61449F-4334-470B-B253-4D017739C229}" destId="{561332E0-0D81-4CB6-9D99-0D67CE29F678}" srcOrd="0" destOrd="0" presId="urn:microsoft.com/office/officeart/2005/8/layout/hierarchy3"/>
    <dgm:cxn modelId="{8655A18F-720B-411A-8F00-64CA77C907A9}" type="presOf" srcId="{EA693C41-6324-40A5-A55F-C7ACE3959833}" destId="{D789285D-CFC4-4AB8-A3CF-396B81EE868E}" srcOrd="0" destOrd="0" presId="urn:microsoft.com/office/officeart/2005/8/layout/hierarchy3"/>
    <dgm:cxn modelId="{A457D691-961A-410E-ACC6-B3C339C03DE1}" type="presOf" srcId="{3483A6CB-88F1-4DCA-93A3-2EAB79F82BD0}" destId="{7876A61A-61DA-432F-BFCF-D040FF8D4185}" srcOrd="0" destOrd="0" presId="urn:microsoft.com/office/officeart/2005/8/layout/hierarchy3"/>
    <dgm:cxn modelId="{7E87119B-8B78-4375-A325-D10814EFE602}" type="presOf" srcId="{07283681-182C-4D45-B0A6-1DE8F6547B09}" destId="{C393E780-155D-41C2-96E6-F0B5E001837C}" srcOrd="1" destOrd="0" presId="urn:microsoft.com/office/officeart/2005/8/layout/hierarchy3"/>
    <dgm:cxn modelId="{77522EA8-666B-4218-82F2-1DF5B6F2FEE8}" type="presOf" srcId="{FE9E5FE8-0C2E-45D6-A19C-177A2F6CDB1D}" destId="{957CBDEB-668E-49B9-B9A6-AE968A2D5A40}" srcOrd="0" destOrd="0" presId="urn:microsoft.com/office/officeart/2005/8/layout/hierarchy3"/>
    <dgm:cxn modelId="{8C8904A9-70E1-4100-B4C3-033BFE727964}" type="presOf" srcId="{3D9F33FF-12C7-409E-85C3-44582A5065F3}" destId="{C2D859BF-8F12-4AAE-8380-EB83EC8770DF}" srcOrd="0" destOrd="0" presId="urn:microsoft.com/office/officeart/2005/8/layout/hierarchy3"/>
    <dgm:cxn modelId="{D6B4F3AE-ECB9-4289-BA89-232B4624B325}" type="presOf" srcId="{4907D66E-E35E-4062-B5AC-F8D7935D8564}" destId="{6E563820-8666-4271-BFC9-DD8EC3B1B605}" srcOrd="0" destOrd="0" presId="urn:microsoft.com/office/officeart/2005/8/layout/hierarchy3"/>
    <dgm:cxn modelId="{B0498CBB-9818-43E5-9374-7FD87C4F65A4}" srcId="{7ED84A95-D274-46FD-B93D-EDDDED90944C}" destId="{3483A6CB-88F1-4DCA-93A3-2EAB79F82BD0}" srcOrd="3" destOrd="0" parTransId="{052EED78-C7E9-4C2B-AD36-54C50FAE5538}" sibTransId="{AEF76EA8-591E-43E2-AC0D-4417DC21A8D7}"/>
    <dgm:cxn modelId="{864AC7BF-BAB3-49CB-8794-CFE0FCED4430}" type="presOf" srcId="{728341AD-DD35-4FA7-9A45-34DDDA95AA04}" destId="{FA768979-E915-421E-AAC2-C927EFF65A77}" srcOrd="0" destOrd="0" presId="urn:microsoft.com/office/officeart/2005/8/layout/hierarchy3"/>
    <dgm:cxn modelId="{0EAE90C8-E89B-49B7-91B8-41A061A5CF86}" srcId="{07283681-182C-4D45-B0A6-1DE8F6547B09}" destId="{E803A963-6C63-4E09-8D95-F994EF4281A7}" srcOrd="0" destOrd="0" parTransId="{3D9F33FF-12C7-409E-85C3-44582A5065F3}" sibTransId="{7C32EF1C-ED00-41B0-A050-8E0DA81442EE}"/>
    <dgm:cxn modelId="{E65833CC-FA32-4D2F-87B5-58E231DDC0C7}" type="presOf" srcId="{E803A963-6C63-4E09-8D95-F994EF4281A7}" destId="{9DB7C7B9-90CF-46CF-BEAC-ED40985E8D48}" srcOrd="0" destOrd="0" presId="urn:microsoft.com/office/officeart/2005/8/layout/hierarchy3"/>
    <dgm:cxn modelId="{6B2D97CC-B1E0-4979-AFCA-FF7E833A127F}" type="presOf" srcId="{BE10CA15-2BF5-49C4-AE39-7840512C7DDF}" destId="{25620F1C-8E6F-49F9-8841-FC7EE2749E4E}" srcOrd="0" destOrd="0" presId="urn:microsoft.com/office/officeart/2005/8/layout/hierarchy3"/>
    <dgm:cxn modelId="{DDF332CD-3BA9-4FBE-A12A-A12C61551715}" type="presOf" srcId="{55814D6E-06AD-42DF-87AF-4EDA6BC66966}" destId="{4FFA3757-6E59-4B1F-A80F-C91F66157650}" srcOrd="0" destOrd="0" presId="urn:microsoft.com/office/officeart/2005/8/layout/hierarchy3"/>
    <dgm:cxn modelId="{5502E6CD-3C56-467C-8BC2-417FAC967384}" srcId="{7ED84A95-D274-46FD-B93D-EDDDED90944C}" destId="{FE9E5FE8-0C2E-45D6-A19C-177A2F6CDB1D}" srcOrd="2" destOrd="0" parTransId="{DC61449F-4334-470B-B253-4D017739C229}" sibTransId="{6C314E21-8510-41E8-BB08-FF3E1D074EB5}"/>
    <dgm:cxn modelId="{B0F45CCF-8B43-4B0E-A192-448595067CEC}" type="presOf" srcId="{1D5CDB37-F44D-47C4-B968-F023EBD55713}" destId="{4166AF23-DC0C-44B4-89F0-B4582B4C9389}" srcOrd="0" destOrd="0" presId="urn:microsoft.com/office/officeart/2005/8/layout/hierarchy3"/>
    <dgm:cxn modelId="{806A54D6-5CCA-4B75-904B-5757D2B8DC42}" type="presOf" srcId="{DCD48FDE-EE6D-4BA4-A015-71513E45A663}" destId="{CFB24212-9F99-4D4B-93BD-F80E8E0F5ECE}" srcOrd="0" destOrd="0" presId="urn:microsoft.com/office/officeart/2005/8/layout/hierarchy3"/>
    <dgm:cxn modelId="{845519D7-5D25-449E-AEE3-7BAEA2A8B5E5}" srcId="{569434DE-CD5C-4FA4-93E6-DA6F233E21F0}" destId="{728341AD-DD35-4FA7-9A45-34DDDA95AA04}" srcOrd="2" destOrd="0" parTransId="{E107C529-F67C-496A-B84B-F719087F48C4}" sibTransId="{877F1188-864C-4BED-9868-2CEFF67038FA}"/>
    <dgm:cxn modelId="{E3A4D2DA-980B-41F8-AD83-453E3E131662}" type="presOf" srcId="{25BAF9A7-66A2-4AC5-A796-1D8D48F9D724}" destId="{8756DBEA-E287-4415-9F11-DC2C1D496A10}" srcOrd="0" destOrd="0" presId="urn:microsoft.com/office/officeart/2005/8/layout/hierarchy3"/>
    <dgm:cxn modelId="{B4C8E6DC-C01B-4CA5-A2C5-144AC003C0E0}" srcId="{569434DE-CD5C-4FA4-93E6-DA6F233E21F0}" destId="{07283681-182C-4D45-B0A6-1DE8F6547B09}" srcOrd="1" destOrd="0" parTransId="{3176D301-A84B-4361-B669-010D401D2833}" sibTransId="{C2160CFD-649B-4CE2-8632-5BED80C36481}"/>
    <dgm:cxn modelId="{10A145DD-20E4-4FDB-BA57-5CE56C4ADF08}" type="presOf" srcId="{4F1C5FC4-1D65-4536-BAE5-CE2150C9E1F0}" destId="{1EEA27D5-F0A2-48F9-B6A5-B56930127CB0}" srcOrd="0" destOrd="0" presId="urn:microsoft.com/office/officeart/2005/8/layout/hierarchy3"/>
    <dgm:cxn modelId="{02B243E2-9604-4712-9B04-60AED281BC3C}" type="presOf" srcId="{CE76FBE6-823E-406B-A6E1-1CD3AEC49791}" destId="{8A53F9A9-04C7-4431-A3D3-202363890C8D}" srcOrd="0" destOrd="0" presId="urn:microsoft.com/office/officeart/2005/8/layout/hierarchy3"/>
    <dgm:cxn modelId="{393670E3-A898-4724-BBCE-3466A622A72B}" srcId="{07283681-182C-4D45-B0A6-1DE8F6547B09}" destId="{CE76FBE6-823E-406B-A6E1-1CD3AEC49791}" srcOrd="1" destOrd="0" parTransId="{BE10CA15-2BF5-49C4-AE39-7840512C7DDF}" sibTransId="{F8A0D236-7EE1-4910-86CB-4705508F2A27}"/>
    <dgm:cxn modelId="{E9FAEFE4-30B9-493C-9BC0-9D5D41507D75}" srcId="{7ED84A95-D274-46FD-B93D-EDDDED90944C}" destId="{D20B973A-7C56-4639-93BE-83DF79054CC7}" srcOrd="4" destOrd="0" parTransId="{811738A9-B049-4FBD-AFC6-3ADEE94D5ABC}" sibTransId="{76BDC1DA-F8E3-444C-A11D-47F1F9E7CC4F}"/>
    <dgm:cxn modelId="{D32886F4-7B91-4E72-BBCD-E99C15A56337}" srcId="{728341AD-DD35-4FA7-9A45-34DDDA95AA04}" destId="{25BAF9A7-66A2-4AC5-A796-1D8D48F9D724}" srcOrd="2" destOrd="0" parTransId="{B1F9F138-7F98-4864-9269-6D094E0FA7FA}" sibTransId="{655E82E7-A5B2-4E14-B379-576B3BD7078F}"/>
    <dgm:cxn modelId="{5E5055FF-B86C-49F4-9098-61EAF6731B2F}" srcId="{569434DE-CD5C-4FA4-93E6-DA6F233E21F0}" destId="{7ED84A95-D274-46FD-B93D-EDDDED90944C}" srcOrd="0" destOrd="0" parTransId="{ABDB2E02-F842-4C3F-8D23-F0F0C0794222}" sibTransId="{F90631B9-DF5A-4767-A0CC-35ABA0FDCDDF}"/>
    <dgm:cxn modelId="{884F977E-2376-42BB-875F-FEB7052CA2A0}" type="presParOf" srcId="{C1E025FF-84D2-4ABF-BDBE-8CA9BB52BAC4}" destId="{6CB91F44-8466-4447-8C63-8537004A9805}" srcOrd="0" destOrd="0" presId="urn:microsoft.com/office/officeart/2005/8/layout/hierarchy3"/>
    <dgm:cxn modelId="{6ADF6FA9-2C94-41F5-A0D6-308E305741C5}" type="presParOf" srcId="{6CB91F44-8466-4447-8C63-8537004A9805}" destId="{8E8335F5-8BC9-4AD2-B66A-3C1C61D51DC4}" srcOrd="0" destOrd="0" presId="urn:microsoft.com/office/officeart/2005/8/layout/hierarchy3"/>
    <dgm:cxn modelId="{27BB327B-359A-42C5-9267-3B9C95B4D67A}" type="presParOf" srcId="{8E8335F5-8BC9-4AD2-B66A-3C1C61D51DC4}" destId="{B57EF7AA-72AA-4D02-AE75-C8AB51D8B923}" srcOrd="0" destOrd="0" presId="urn:microsoft.com/office/officeart/2005/8/layout/hierarchy3"/>
    <dgm:cxn modelId="{7BC1F0CE-7C61-489C-BE74-3835FA7B65AA}" type="presParOf" srcId="{8E8335F5-8BC9-4AD2-B66A-3C1C61D51DC4}" destId="{D06EB772-5DC5-44AB-912B-8C90912D27EE}" srcOrd="1" destOrd="0" presId="urn:microsoft.com/office/officeart/2005/8/layout/hierarchy3"/>
    <dgm:cxn modelId="{9AF177F2-F442-4762-8C42-E5E68B592243}" type="presParOf" srcId="{6CB91F44-8466-4447-8C63-8537004A9805}" destId="{748ED5A0-49C9-48D0-8FAD-15476BA9CA99}" srcOrd="1" destOrd="0" presId="urn:microsoft.com/office/officeart/2005/8/layout/hierarchy3"/>
    <dgm:cxn modelId="{AAAAE7B0-3617-467B-918D-26BD42C1BC67}" type="presParOf" srcId="{748ED5A0-49C9-48D0-8FAD-15476BA9CA99}" destId="{6E563820-8666-4271-BFC9-DD8EC3B1B605}" srcOrd="0" destOrd="0" presId="urn:microsoft.com/office/officeart/2005/8/layout/hierarchy3"/>
    <dgm:cxn modelId="{C0E6AEA3-32D2-4176-9EE4-65BD569A190C}" type="presParOf" srcId="{748ED5A0-49C9-48D0-8FAD-15476BA9CA99}" destId="{7B287B5A-4890-485C-97F8-CA801633BB4A}" srcOrd="1" destOrd="0" presId="urn:microsoft.com/office/officeart/2005/8/layout/hierarchy3"/>
    <dgm:cxn modelId="{4B7B1D34-0CA3-4AD1-9E1D-94BC663F54D9}" type="presParOf" srcId="{748ED5A0-49C9-48D0-8FAD-15476BA9CA99}" destId="{1EEA27D5-F0A2-48F9-B6A5-B56930127CB0}" srcOrd="2" destOrd="0" presId="urn:microsoft.com/office/officeart/2005/8/layout/hierarchy3"/>
    <dgm:cxn modelId="{566F7253-4F74-4A83-8D0F-E46101FA002F}" type="presParOf" srcId="{748ED5A0-49C9-48D0-8FAD-15476BA9CA99}" destId="{D789285D-CFC4-4AB8-A3CF-396B81EE868E}" srcOrd="3" destOrd="0" presId="urn:microsoft.com/office/officeart/2005/8/layout/hierarchy3"/>
    <dgm:cxn modelId="{D041C68D-E08C-4FE2-A8E3-CC7DC55FD158}" type="presParOf" srcId="{748ED5A0-49C9-48D0-8FAD-15476BA9CA99}" destId="{561332E0-0D81-4CB6-9D99-0D67CE29F678}" srcOrd="4" destOrd="0" presId="urn:microsoft.com/office/officeart/2005/8/layout/hierarchy3"/>
    <dgm:cxn modelId="{10A712D3-6DCA-42F9-8315-7609DB0A1743}" type="presParOf" srcId="{748ED5A0-49C9-48D0-8FAD-15476BA9CA99}" destId="{957CBDEB-668E-49B9-B9A6-AE968A2D5A40}" srcOrd="5" destOrd="0" presId="urn:microsoft.com/office/officeart/2005/8/layout/hierarchy3"/>
    <dgm:cxn modelId="{6437E84B-30CD-495F-BF0E-EC52013CE047}" type="presParOf" srcId="{748ED5A0-49C9-48D0-8FAD-15476BA9CA99}" destId="{A06B2E77-2335-4F01-BCBA-483F21D96BBA}" srcOrd="6" destOrd="0" presId="urn:microsoft.com/office/officeart/2005/8/layout/hierarchy3"/>
    <dgm:cxn modelId="{2056FB1D-2810-419C-B941-522E53EE51AA}" type="presParOf" srcId="{748ED5A0-49C9-48D0-8FAD-15476BA9CA99}" destId="{7876A61A-61DA-432F-BFCF-D040FF8D4185}" srcOrd="7" destOrd="0" presId="urn:microsoft.com/office/officeart/2005/8/layout/hierarchy3"/>
    <dgm:cxn modelId="{B1A9B432-DD97-4BF1-973E-21819FFD8E59}" type="presParOf" srcId="{748ED5A0-49C9-48D0-8FAD-15476BA9CA99}" destId="{874A1B6B-89B0-4121-9F07-F9ACA0424D7F}" srcOrd="8" destOrd="0" presId="urn:microsoft.com/office/officeart/2005/8/layout/hierarchy3"/>
    <dgm:cxn modelId="{8EFE2E16-7C7D-4895-A83D-400E31AB5513}" type="presParOf" srcId="{748ED5A0-49C9-48D0-8FAD-15476BA9CA99}" destId="{169548D8-BD57-4048-8E67-7757B3BFBB50}" srcOrd="9" destOrd="0" presId="urn:microsoft.com/office/officeart/2005/8/layout/hierarchy3"/>
    <dgm:cxn modelId="{22411BF3-569F-4C12-A3E1-88E819666E4D}" type="presParOf" srcId="{C1E025FF-84D2-4ABF-BDBE-8CA9BB52BAC4}" destId="{21735311-650C-4DF0-8DD7-A33AC7692A84}" srcOrd="1" destOrd="0" presId="urn:microsoft.com/office/officeart/2005/8/layout/hierarchy3"/>
    <dgm:cxn modelId="{51272FA1-DBD1-4972-A52F-443BDD62B456}" type="presParOf" srcId="{21735311-650C-4DF0-8DD7-A33AC7692A84}" destId="{F05361CD-831E-44D4-9CF7-8DC3B6966278}" srcOrd="0" destOrd="0" presId="urn:microsoft.com/office/officeart/2005/8/layout/hierarchy3"/>
    <dgm:cxn modelId="{C2E6D7A1-CC84-49FA-B2E5-892DE120392D}" type="presParOf" srcId="{F05361CD-831E-44D4-9CF7-8DC3B6966278}" destId="{E27E8E49-7D50-44AB-85C4-270AAF54FBD3}" srcOrd="0" destOrd="0" presId="urn:microsoft.com/office/officeart/2005/8/layout/hierarchy3"/>
    <dgm:cxn modelId="{F9E00A84-1E46-47E3-A142-722E3FA47F4D}" type="presParOf" srcId="{F05361CD-831E-44D4-9CF7-8DC3B6966278}" destId="{C393E780-155D-41C2-96E6-F0B5E001837C}" srcOrd="1" destOrd="0" presId="urn:microsoft.com/office/officeart/2005/8/layout/hierarchy3"/>
    <dgm:cxn modelId="{5B9350F3-7EAA-4682-BA76-9221A5F65E42}" type="presParOf" srcId="{21735311-650C-4DF0-8DD7-A33AC7692A84}" destId="{88E03F24-0B51-45AF-B242-C1DBC082F21D}" srcOrd="1" destOrd="0" presId="urn:microsoft.com/office/officeart/2005/8/layout/hierarchy3"/>
    <dgm:cxn modelId="{553BFF23-2B4D-4A4E-AF7E-0C8763BC5705}" type="presParOf" srcId="{88E03F24-0B51-45AF-B242-C1DBC082F21D}" destId="{C2D859BF-8F12-4AAE-8380-EB83EC8770DF}" srcOrd="0" destOrd="0" presId="urn:microsoft.com/office/officeart/2005/8/layout/hierarchy3"/>
    <dgm:cxn modelId="{F1D48A72-93AF-4AB6-8FB1-080AA536D5B1}" type="presParOf" srcId="{88E03F24-0B51-45AF-B242-C1DBC082F21D}" destId="{9DB7C7B9-90CF-46CF-BEAC-ED40985E8D48}" srcOrd="1" destOrd="0" presId="urn:microsoft.com/office/officeart/2005/8/layout/hierarchy3"/>
    <dgm:cxn modelId="{DFF2110B-1510-445E-841F-24E5424B74ED}" type="presParOf" srcId="{88E03F24-0B51-45AF-B242-C1DBC082F21D}" destId="{25620F1C-8E6F-49F9-8841-FC7EE2749E4E}" srcOrd="2" destOrd="0" presId="urn:microsoft.com/office/officeart/2005/8/layout/hierarchy3"/>
    <dgm:cxn modelId="{2929DF4F-D0C0-42F4-A828-80F3C9F93AF8}" type="presParOf" srcId="{88E03F24-0B51-45AF-B242-C1DBC082F21D}" destId="{8A53F9A9-04C7-4431-A3D3-202363890C8D}" srcOrd="3" destOrd="0" presId="urn:microsoft.com/office/officeart/2005/8/layout/hierarchy3"/>
    <dgm:cxn modelId="{19409D83-9D7C-4E84-A69F-2E092E049C3A}" type="presParOf" srcId="{88E03F24-0B51-45AF-B242-C1DBC082F21D}" destId="{4166AF23-DC0C-44B4-89F0-B4582B4C9389}" srcOrd="4" destOrd="0" presId="urn:microsoft.com/office/officeart/2005/8/layout/hierarchy3"/>
    <dgm:cxn modelId="{232878C3-0A6F-4355-9F4A-8A31B8606F7F}" type="presParOf" srcId="{88E03F24-0B51-45AF-B242-C1DBC082F21D}" destId="{D37D394D-F51C-412F-8E3D-B5FF739937FC}" srcOrd="5" destOrd="0" presId="urn:microsoft.com/office/officeart/2005/8/layout/hierarchy3"/>
    <dgm:cxn modelId="{C7B166B4-071E-484A-9BE9-261F3E1BA6C2}" type="presParOf" srcId="{C1E025FF-84D2-4ABF-BDBE-8CA9BB52BAC4}" destId="{842536F1-D127-4417-8151-F679AF875809}" srcOrd="2" destOrd="0" presId="urn:microsoft.com/office/officeart/2005/8/layout/hierarchy3"/>
    <dgm:cxn modelId="{E85C4815-46D0-4F3F-9DA0-777F360E5708}" type="presParOf" srcId="{842536F1-D127-4417-8151-F679AF875809}" destId="{EB6E3112-ACFD-47D8-ADB9-7902F4889BC6}" srcOrd="0" destOrd="0" presId="urn:microsoft.com/office/officeart/2005/8/layout/hierarchy3"/>
    <dgm:cxn modelId="{93A5D57E-43FE-463C-A2E3-26E28AD51DF3}" type="presParOf" srcId="{EB6E3112-ACFD-47D8-ADB9-7902F4889BC6}" destId="{FA768979-E915-421E-AAC2-C927EFF65A77}" srcOrd="0" destOrd="0" presId="urn:microsoft.com/office/officeart/2005/8/layout/hierarchy3"/>
    <dgm:cxn modelId="{160314DD-878A-48FA-90D4-9A29576E2BBE}" type="presParOf" srcId="{EB6E3112-ACFD-47D8-ADB9-7902F4889BC6}" destId="{947CB48C-CB4E-4666-952C-7B462531F101}" srcOrd="1" destOrd="0" presId="urn:microsoft.com/office/officeart/2005/8/layout/hierarchy3"/>
    <dgm:cxn modelId="{C55DDC2B-7BBE-437F-8BF3-4B1167A099C4}" type="presParOf" srcId="{842536F1-D127-4417-8151-F679AF875809}" destId="{B995F7DA-A762-486E-ABA7-228187923561}" srcOrd="1" destOrd="0" presId="urn:microsoft.com/office/officeart/2005/8/layout/hierarchy3"/>
    <dgm:cxn modelId="{AD0A64F3-45DE-4413-8886-4129B020503B}" type="presParOf" srcId="{B995F7DA-A762-486E-ABA7-228187923561}" destId="{A57955CB-9CDD-4641-96F5-475280EAC841}" srcOrd="0" destOrd="0" presId="urn:microsoft.com/office/officeart/2005/8/layout/hierarchy3"/>
    <dgm:cxn modelId="{113111AC-2E3D-408A-8377-007773C6C1C2}" type="presParOf" srcId="{B995F7DA-A762-486E-ABA7-228187923561}" destId="{70FEB89B-D596-43B8-9AD1-C1B035505177}" srcOrd="1" destOrd="0" presId="urn:microsoft.com/office/officeart/2005/8/layout/hierarchy3"/>
    <dgm:cxn modelId="{623E47BE-8E62-4B45-A149-670FFD8EE69B}" type="presParOf" srcId="{B995F7DA-A762-486E-ABA7-228187923561}" destId="{4FFA3757-6E59-4B1F-A80F-C91F66157650}" srcOrd="2" destOrd="0" presId="urn:microsoft.com/office/officeart/2005/8/layout/hierarchy3"/>
    <dgm:cxn modelId="{EEEA3631-3E2F-4C2E-9E26-946C844B33A0}" type="presParOf" srcId="{B995F7DA-A762-486E-ABA7-228187923561}" destId="{CFB24212-9F99-4D4B-93BD-F80E8E0F5ECE}" srcOrd="3" destOrd="0" presId="urn:microsoft.com/office/officeart/2005/8/layout/hierarchy3"/>
    <dgm:cxn modelId="{697F6116-A008-416E-8EFD-35527C1E702C}" type="presParOf" srcId="{B995F7DA-A762-486E-ABA7-228187923561}" destId="{1E88FC39-0007-4CCB-9DC6-503E072A51DF}" srcOrd="4" destOrd="0" presId="urn:microsoft.com/office/officeart/2005/8/layout/hierarchy3"/>
    <dgm:cxn modelId="{E7E0DC31-4CCD-491D-AF5B-F3CF5BE5250F}" type="presParOf" srcId="{B995F7DA-A762-486E-ABA7-228187923561}" destId="{8756DBEA-E287-4415-9F11-DC2C1D496A10}" srcOrd="5" destOrd="0" presId="urn:microsoft.com/office/officeart/2005/8/layout/hierarchy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1020F1-96DF-4B28-A917-010A1B217855}">
      <dsp:nvSpPr>
        <dsp:cNvPr id="0" name=""/>
        <dsp:cNvSpPr/>
      </dsp:nvSpPr>
      <dsp:spPr>
        <a:xfrm>
          <a:off x="253615" y="423484"/>
          <a:ext cx="511481" cy="511481"/>
        </a:xfrm>
        <a:prstGeom prst="ellipse">
          <a:avLst/>
        </a:prstGeom>
        <a:solidFill>
          <a:srgbClr val="FFFFFF"/>
        </a:solidFill>
        <a:ln>
          <a:noFill/>
        </a:ln>
        <a:effectLst/>
      </dsp:spPr>
      <dsp:style>
        <a:lnRef idx="0">
          <a:scrgbClr r="0" g="0" b="0"/>
        </a:lnRef>
        <a:fillRef idx="1">
          <a:scrgbClr r="0" g="0" b="0"/>
        </a:fillRef>
        <a:effectRef idx="0">
          <a:scrgbClr r="0" g="0" b="0"/>
        </a:effectRef>
        <a:fontRef idx="minor"/>
      </dsp:style>
    </dsp:sp>
    <dsp:sp modelId="{F4034F14-36CB-445B-87DA-78AE1EA0D62A}">
      <dsp:nvSpPr>
        <dsp:cNvPr id="0" name=""/>
        <dsp:cNvSpPr/>
      </dsp:nvSpPr>
      <dsp:spPr>
        <a:xfrm>
          <a:off x="364457" y="506060"/>
          <a:ext cx="296659" cy="29665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B9310A34-78AB-4DD7-A4A6-21F4E24F2F3F}">
      <dsp:nvSpPr>
        <dsp:cNvPr id="0" name=""/>
        <dsp:cNvSpPr/>
      </dsp:nvSpPr>
      <dsp:spPr>
        <a:xfrm>
          <a:off x="864645" y="498973"/>
          <a:ext cx="2761650" cy="4722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solidFill>
                <a:srgbClr val="000000"/>
              </a:solidFill>
              <a:latin typeface="Segoe UI"/>
              <a:ea typeface="+mn-ea"/>
              <a:cs typeface="+mn-cs"/>
            </a:rPr>
            <a:t>New portal-based experience to simplify industry cloud deployments</a:t>
          </a:r>
        </a:p>
      </dsp:txBody>
      <dsp:txXfrm>
        <a:off x="864645" y="498973"/>
        <a:ext cx="2761650" cy="472281"/>
      </dsp:txXfrm>
    </dsp:sp>
    <dsp:sp modelId="{23A271B2-F5D2-44E0-980F-495BE1D238CA}">
      <dsp:nvSpPr>
        <dsp:cNvPr id="0" name=""/>
        <dsp:cNvSpPr/>
      </dsp:nvSpPr>
      <dsp:spPr>
        <a:xfrm>
          <a:off x="3678261" y="460955"/>
          <a:ext cx="511481" cy="511481"/>
        </a:xfrm>
        <a:prstGeom prst="ellipse">
          <a:avLst/>
        </a:prstGeom>
        <a:solidFill>
          <a:srgbClr val="FFFFFF"/>
        </a:solidFill>
        <a:ln>
          <a:noFill/>
        </a:ln>
        <a:effectLst/>
      </dsp:spPr>
      <dsp:style>
        <a:lnRef idx="0">
          <a:scrgbClr r="0" g="0" b="0"/>
        </a:lnRef>
        <a:fillRef idx="1">
          <a:scrgbClr r="0" g="0" b="0"/>
        </a:fillRef>
        <a:effectRef idx="0">
          <a:scrgbClr r="0" g="0" b="0"/>
        </a:effectRef>
        <a:fontRef idx="minor"/>
      </dsp:style>
    </dsp:sp>
    <dsp:sp modelId="{26898B01-7877-42BB-A7B4-BF8998960A50}">
      <dsp:nvSpPr>
        <dsp:cNvPr id="0" name=""/>
        <dsp:cNvSpPr/>
      </dsp:nvSpPr>
      <dsp:spPr>
        <a:xfrm>
          <a:off x="3785669" y="568364"/>
          <a:ext cx="296659" cy="29665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B103F6C4-7F58-44AD-A62A-553CBDFC44F1}">
      <dsp:nvSpPr>
        <dsp:cNvPr id="0" name=""/>
        <dsp:cNvSpPr/>
      </dsp:nvSpPr>
      <dsp:spPr>
        <a:xfrm>
          <a:off x="4385884" y="382859"/>
          <a:ext cx="2772199" cy="625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solidFill>
                <a:srgbClr val="000000"/>
              </a:solidFill>
              <a:latin typeface="Segoe UI"/>
              <a:ea typeface="+mn-ea"/>
              <a:cs typeface="+mn-cs"/>
            </a:rPr>
            <a:t>In-built licensing and pre-requisite checks to simplify deployment process</a:t>
          </a:r>
        </a:p>
      </dsp:txBody>
      <dsp:txXfrm>
        <a:off x="4385884" y="382859"/>
        <a:ext cx="2772199" cy="625822"/>
      </dsp:txXfrm>
    </dsp:sp>
    <dsp:sp modelId="{EA929762-9A55-4EB8-B692-EDA80A2C6995}">
      <dsp:nvSpPr>
        <dsp:cNvPr id="0" name=""/>
        <dsp:cNvSpPr/>
      </dsp:nvSpPr>
      <dsp:spPr>
        <a:xfrm>
          <a:off x="7292461" y="459773"/>
          <a:ext cx="511481" cy="511481"/>
        </a:xfrm>
        <a:prstGeom prst="ellipse">
          <a:avLst/>
        </a:prstGeom>
        <a:solidFill>
          <a:srgbClr val="FFFFFF"/>
        </a:solidFill>
        <a:ln>
          <a:noFill/>
        </a:ln>
        <a:effectLst/>
      </dsp:spPr>
      <dsp:style>
        <a:lnRef idx="0">
          <a:scrgbClr r="0" g="0" b="0"/>
        </a:lnRef>
        <a:fillRef idx="1">
          <a:scrgbClr r="0" g="0" b="0"/>
        </a:fillRef>
        <a:effectRef idx="0">
          <a:scrgbClr r="0" g="0" b="0"/>
        </a:effectRef>
        <a:fontRef idx="minor"/>
      </dsp:style>
    </dsp:sp>
    <dsp:sp modelId="{76526658-A2E6-42CE-8405-BD5DDB27D889}">
      <dsp:nvSpPr>
        <dsp:cNvPr id="0" name=""/>
        <dsp:cNvSpPr/>
      </dsp:nvSpPr>
      <dsp:spPr>
        <a:xfrm>
          <a:off x="7399872" y="567174"/>
          <a:ext cx="296659" cy="29665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5F02B5E6-309E-4174-B904-2D4B464A16ED}">
      <dsp:nvSpPr>
        <dsp:cNvPr id="0" name=""/>
        <dsp:cNvSpPr/>
      </dsp:nvSpPr>
      <dsp:spPr>
        <a:xfrm>
          <a:off x="7955614" y="447922"/>
          <a:ext cx="3280085" cy="5926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solidFill>
                <a:srgbClr val="000000"/>
              </a:solidFill>
              <a:latin typeface="Segoe UI"/>
              <a:ea typeface="+mn-ea"/>
              <a:cs typeface="+mn-cs"/>
            </a:rPr>
            <a:t>Unified deployment and configuration experience across multiple lines of apps</a:t>
          </a:r>
        </a:p>
      </dsp:txBody>
      <dsp:txXfrm>
        <a:off x="7955614" y="447922"/>
        <a:ext cx="3280085" cy="5926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524413-32F6-4CAD-9418-E2E271EE500F}">
      <dsp:nvSpPr>
        <dsp:cNvPr id="0" name=""/>
        <dsp:cNvSpPr/>
      </dsp:nvSpPr>
      <dsp:spPr>
        <a:xfrm>
          <a:off x="3819"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solidFill>
                <a:sysClr val="windowText" lastClr="000000"/>
              </a:solidFill>
              <a:latin typeface="Calibri" panose="020F0502020204030204"/>
              <a:ea typeface="+mn-ea"/>
              <a:cs typeface="+mn-cs"/>
            </a:rPr>
            <a:t>Financial Services Data Model</a:t>
          </a:r>
        </a:p>
      </dsp:txBody>
      <dsp:txXfrm>
        <a:off x="3819" y="18438"/>
        <a:ext cx="1463994" cy="585597"/>
      </dsp:txXfrm>
    </dsp:sp>
    <dsp:sp modelId="{A604EC34-0CCC-47A3-B869-3A915CE1350B}">
      <dsp:nvSpPr>
        <dsp:cNvPr id="0" name=""/>
        <dsp:cNvSpPr/>
      </dsp:nvSpPr>
      <dsp:spPr>
        <a:xfrm>
          <a:off x="3819"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Calibri" panose="020F0502020204030204"/>
              <a:ea typeface="+mn-ea"/>
              <a:cs typeface="+mn-cs"/>
            </a:rPr>
            <a:t>No additional dependencies</a:t>
          </a:r>
        </a:p>
      </dsp:txBody>
      <dsp:txXfrm>
        <a:off x="3819" y="604035"/>
        <a:ext cx="1463994" cy="1229759"/>
      </dsp:txXfrm>
    </dsp:sp>
    <dsp:sp modelId="{F302A4F3-216D-4888-A373-6BB84089285F}">
      <dsp:nvSpPr>
        <dsp:cNvPr id="0" name=""/>
        <dsp:cNvSpPr/>
      </dsp:nvSpPr>
      <dsp:spPr>
        <a:xfrm>
          <a:off x="1672772"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solidFill>
                <a:sysClr val="windowText" lastClr="000000"/>
              </a:solidFill>
              <a:latin typeface="Calibri" panose="020F0502020204030204"/>
              <a:ea typeface="+mn-ea"/>
              <a:cs typeface="+mn-cs"/>
            </a:rPr>
            <a:t>Unified Customer Profile</a:t>
          </a:r>
        </a:p>
      </dsp:txBody>
      <dsp:txXfrm>
        <a:off x="1672772" y="18438"/>
        <a:ext cx="1463994" cy="585597"/>
      </dsp:txXfrm>
    </dsp:sp>
    <dsp:sp modelId="{9DA56E56-FBF4-4390-8875-D2BCA515C852}">
      <dsp:nvSpPr>
        <dsp:cNvPr id="0" name=""/>
        <dsp:cNvSpPr/>
      </dsp:nvSpPr>
      <dsp:spPr>
        <a:xfrm>
          <a:off x="1672772"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Calibri" panose="020F0502020204030204"/>
              <a:ea typeface="+mn-ea"/>
              <a:cs typeface="+mn-cs"/>
            </a:rPr>
            <a:t>Power Apps</a:t>
          </a:r>
        </a:p>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Calibri" panose="020F0502020204030204"/>
              <a:ea typeface="+mn-ea"/>
              <a:cs typeface="+mn-cs"/>
            </a:rPr>
            <a:t>Dynamics 365 Customer Insights (recommended)</a:t>
          </a:r>
        </a:p>
      </dsp:txBody>
      <dsp:txXfrm>
        <a:off x="1672772" y="604035"/>
        <a:ext cx="1463994" cy="1229759"/>
      </dsp:txXfrm>
    </dsp:sp>
    <dsp:sp modelId="{3875CCE9-4A5A-4692-94FD-3094BC7CAEE8}">
      <dsp:nvSpPr>
        <dsp:cNvPr id="0" name=""/>
        <dsp:cNvSpPr/>
      </dsp:nvSpPr>
      <dsp:spPr>
        <a:xfrm>
          <a:off x="3341726"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solidFill>
                <a:sysClr val="windowText" lastClr="000000"/>
              </a:solidFill>
              <a:latin typeface="Calibri" panose="020F0502020204030204"/>
              <a:ea typeface="+mn-ea"/>
              <a:cs typeface="+mn-cs"/>
            </a:rPr>
            <a:t>Customer Onboarding</a:t>
          </a:r>
        </a:p>
      </dsp:txBody>
      <dsp:txXfrm>
        <a:off x="3341726" y="18438"/>
        <a:ext cx="1463994" cy="585597"/>
      </dsp:txXfrm>
    </dsp:sp>
    <dsp:sp modelId="{1607F4A2-3946-4224-84BE-3EBD082C8385}">
      <dsp:nvSpPr>
        <dsp:cNvPr id="0" name=""/>
        <dsp:cNvSpPr/>
      </dsp:nvSpPr>
      <dsp:spPr>
        <a:xfrm>
          <a:off x="3341726"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Calibri" panose="020F0502020204030204"/>
              <a:ea typeface="+mn-ea"/>
              <a:cs typeface="+mn-cs"/>
            </a:rPr>
            <a:t>Power Apps</a:t>
          </a:r>
        </a:p>
      </dsp:txBody>
      <dsp:txXfrm>
        <a:off x="3341726" y="604035"/>
        <a:ext cx="1463994" cy="1229759"/>
      </dsp:txXfrm>
    </dsp:sp>
    <dsp:sp modelId="{3676BC84-617A-44B6-A389-FE04E7781EA2}">
      <dsp:nvSpPr>
        <dsp:cNvPr id="0" name=""/>
        <dsp:cNvSpPr/>
      </dsp:nvSpPr>
      <dsp:spPr>
        <a:xfrm>
          <a:off x="5010680"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solidFill>
                <a:sysClr val="windowText" lastClr="000000"/>
              </a:solidFill>
              <a:latin typeface="Calibri" panose="020F0502020204030204"/>
              <a:ea typeface="+mn-ea"/>
              <a:cs typeface="+mn-cs"/>
            </a:rPr>
            <a:t>Collaboration Manager for Loans</a:t>
          </a:r>
        </a:p>
      </dsp:txBody>
      <dsp:txXfrm>
        <a:off x="5010680" y="18438"/>
        <a:ext cx="1463994" cy="585597"/>
      </dsp:txXfrm>
    </dsp:sp>
    <dsp:sp modelId="{AB5BEDC1-4184-4E29-85F5-EFAEABAD65D9}">
      <dsp:nvSpPr>
        <dsp:cNvPr id="0" name=""/>
        <dsp:cNvSpPr/>
      </dsp:nvSpPr>
      <dsp:spPr>
        <a:xfrm>
          <a:off x="5010680"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Calibri" panose="020F0502020204030204"/>
              <a:ea typeface="+mn-ea"/>
              <a:cs typeface="+mn-cs"/>
            </a:rPr>
            <a:t>Power Apps</a:t>
          </a:r>
        </a:p>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Calibri" panose="020F0502020204030204"/>
              <a:ea typeface="+mn-ea"/>
              <a:cs typeface="+mn-cs"/>
            </a:rPr>
            <a:t>Teams</a:t>
          </a:r>
        </a:p>
      </dsp:txBody>
      <dsp:txXfrm>
        <a:off x="5010680" y="604035"/>
        <a:ext cx="1463994" cy="1229759"/>
      </dsp:txXfrm>
    </dsp:sp>
    <dsp:sp modelId="{2B34CBDE-EF48-47B1-9E1D-4E6AB5F47B1B}">
      <dsp:nvSpPr>
        <dsp:cNvPr id="0" name=""/>
        <dsp:cNvSpPr/>
      </dsp:nvSpPr>
      <dsp:spPr>
        <a:xfrm>
          <a:off x="6679634" y="18438"/>
          <a:ext cx="1463994" cy="585597"/>
        </a:xfrm>
        <a:prstGeom prst="rect">
          <a:avLst/>
        </a:prstGeom>
        <a:gradFill rotWithShape="0">
          <a:gsLst>
            <a:gs pos="0">
              <a:srgbClr val="5B9BD5">
                <a:hueOff val="0"/>
                <a:satOff val="0"/>
                <a:lumOff val="0"/>
                <a:alphaOff val="0"/>
                <a:lumMod val="110000"/>
                <a:satMod val="105000"/>
                <a:tint val="67000"/>
              </a:srgbClr>
            </a:gs>
            <a:gs pos="50000">
              <a:srgbClr val="5B9BD5">
                <a:hueOff val="0"/>
                <a:satOff val="0"/>
                <a:lumOff val="0"/>
                <a:alphaOff val="0"/>
                <a:lumMod val="105000"/>
                <a:satMod val="103000"/>
                <a:tint val="73000"/>
              </a:srgbClr>
            </a:gs>
            <a:gs pos="100000">
              <a:srgbClr val="5B9BD5">
                <a:hueOff val="0"/>
                <a:satOff val="0"/>
                <a:lumOff val="0"/>
                <a:alphaOff val="0"/>
                <a:lumMod val="105000"/>
                <a:satMod val="109000"/>
                <a:tint val="81000"/>
              </a:srgbClr>
            </a:gs>
          </a:gsLst>
          <a:lin ang="5400000" scaled="0"/>
        </a:gradFill>
        <a:ln w="6350" cap="flat" cmpd="sng" algn="ctr">
          <a:solidFill>
            <a:srgbClr val="5B9BD5">
              <a:hueOff val="0"/>
              <a:satOff val="0"/>
              <a:lumOff val="0"/>
              <a:alphaOff val="0"/>
            </a:srgb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solidFill>
                <a:sysClr val="windowText" lastClr="000000"/>
              </a:solidFill>
              <a:latin typeface="Calibri" panose="020F0502020204030204"/>
              <a:ea typeface="+mn-ea"/>
              <a:cs typeface="+mn-cs"/>
            </a:rPr>
            <a:t>Account and purchase Protection</a:t>
          </a:r>
        </a:p>
      </dsp:txBody>
      <dsp:txXfrm>
        <a:off x="6679634" y="18438"/>
        <a:ext cx="1463994" cy="585597"/>
      </dsp:txXfrm>
    </dsp:sp>
    <dsp:sp modelId="{4A454568-650B-4645-8374-71291155078D}">
      <dsp:nvSpPr>
        <dsp:cNvPr id="0" name=""/>
        <dsp:cNvSpPr/>
      </dsp:nvSpPr>
      <dsp:spPr>
        <a:xfrm>
          <a:off x="6679634" y="604035"/>
          <a:ext cx="1463994" cy="1229759"/>
        </a:xfrm>
        <a:prstGeom prst="rect">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ysClr val="windowText" lastClr="000000">
                  <a:hueOff val="0"/>
                  <a:satOff val="0"/>
                  <a:lumOff val="0"/>
                  <a:alphaOff val="0"/>
                </a:sysClr>
              </a:solidFill>
              <a:latin typeface="Calibri" panose="020F0502020204030204"/>
              <a:ea typeface="+mn-ea"/>
              <a:cs typeface="+mn-cs"/>
            </a:rPr>
            <a:t>Dynamics 365 Fraud Protection</a:t>
          </a:r>
        </a:p>
      </dsp:txBody>
      <dsp:txXfrm>
        <a:off x="6679634" y="604035"/>
        <a:ext cx="1463994" cy="12297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7EF7AA-72AA-4D02-AE75-C8AB51D8B923}">
      <dsp:nvSpPr>
        <dsp:cNvPr id="0" name=""/>
        <dsp:cNvSpPr/>
      </dsp:nvSpPr>
      <dsp:spPr>
        <a:xfrm>
          <a:off x="1730766" y="1847"/>
          <a:ext cx="1503903" cy="751951"/>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Unified Customer Profile</a:t>
          </a:r>
        </a:p>
      </dsp:txBody>
      <dsp:txXfrm>
        <a:off x="1752790" y="23871"/>
        <a:ext cx="1459855" cy="707903"/>
      </dsp:txXfrm>
    </dsp:sp>
    <dsp:sp modelId="{6E563820-8666-4271-BFC9-DD8EC3B1B605}">
      <dsp:nvSpPr>
        <dsp:cNvPr id="0" name=""/>
        <dsp:cNvSpPr/>
      </dsp:nvSpPr>
      <dsp:spPr>
        <a:xfrm>
          <a:off x="1881157" y="753799"/>
          <a:ext cx="150390" cy="563963"/>
        </a:xfrm>
        <a:custGeom>
          <a:avLst/>
          <a:gdLst/>
          <a:ahLst/>
          <a:cxnLst/>
          <a:rect l="0" t="0" r="0" b="0"/>
          <a:pathLst>
            <a:path>
              <a:moveTo>
                <a:pt x="0" y="0"/>
              </a:moveTo>
              <a:lnTo>
                <a:pt x="0" y="563963"/>
              </a:lnTo>
              <a:lnTo>
                <a:pt x="150390" y="563963"/>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7B287B5A-4890-485C-97F8-CA801633BB4A}">
      <dsp:nvSpPr>
        <dsp:cNvPr id="0" name=""/>
        <dsp:cNvSpPr/>
      </dsp:nvSpPr>
      <dsp:spPr>
        <a:xfrm>
          <a:off x="2031547" y="941787"/>
          <a:ext cx="1203122" cy="751951"/>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Configure churn model as part of Customer Intelligence</a:t>
          </a:r>
        </a:p>
      </dsp:txBody>
      <dsp:txXfrm>
        <a:off x="2053571" y="963811"/>
        <a:ext cx="1159074" cy="707903"/>
      </dsp:txXfrm>
    </dsp:sp>
    <dsp:sp modelId="{E27E8E49-7D50-44AB-85C4-270AAF54FBD3}">
      <dsp:nvSpPr>
        <dsp:cNvPr id="0" name=""/>
        <dsp:cNvSpPr/>
      </dsp:nvSpPr>
      <dsp:spPr>
        <a:xfrm>
          <a:off x="3610645" y="1847"/>
          <a:ext cx="1503903" cy="751951"/>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Customer Onboarding</a:t>
          </a:r>
        </a:p>
      </dsp:txBody>
      <dsp:txXfrm>
        <a:off x="3632669" y="23871"/>
        <a:ext cx="1459855" cy="707903"/>
      </dsp:txXfrm>
    </dsp:sp>
    <dsp:sp modelId="{C2D859BF-8F12-4AAE-8380-EB83EC8770DF}">
      <dsp:nvSpPr>
        <dsp:cNvPr id="0" name=""/>
        <dsp:cNvSpPr/>
      </dsp:nvSpPr>
      <dsp:spPr>
        <a:xfrm>
          <a:off x="3761036" y="753799"/>
          <a:ext cx="150390" cy="563963"/>
        </a:xfrm>
        <a:custGeom>
          <a:avLst/>
          <a:gdLst/>
          <a:ahLst/>
          <a:cxnLst/>
          <a:rect l="0" t="0" r="0" b="0"/>
          <a:pathLst>
            <a:path>
              <a:moveTo>
                <a:pt x="0" y="0"/>
              </a:moveTo>
              <a:lnTo>
                <a:pt x="0" y="563963"/>
              </a:lnTo>
              <a:lnTo>
                <a:pt x="150390" y="563963"/>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9DB7C7B9-90CF-46CF-BEAC-ED40985E8D48}">
      <dsp:nvSpPr>
        <dsp:cNvPr id="0" name=""/>
        <dsp:cNvSpPr/>
      </dsp:nvSpPr>
      <dsp:spPr>
        <a:xfrm>
          <a:off x="3911426" y="941787"/>
          <a:ext cx="1203122" cy="751951"/>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Configure Business Process Flow for Loan Onboarding </a:t>
          </a:r>
        </a:p>
      </dsp:txBody>
      <dsp:txXfrm>
        <a:off x="3933450" y="963811"/>
        <a:ext cx="1159074" cy="707903"/>
      </dsp:txXfrm>
    </dsp:sp>
    <dsp:sp modelId="{25620F1C-8E6F-49F9-8841-FC7EE2749E4E}">
      <dsp:nvSpPr>
        <dsp:cNvPr id="0" name=""/>
        <dsp:cNvSpPr/>
      </dsp:nvSpPr>
      <dsp:spPr>
        <a:xfrm>
          <a:off x="3761036" y="753799"/>
          <a:ext cx="150390" cy="1503903"/>
        </a:xfrm>
        <a:custGeom>
          <a:avLst/>
          <a:gdLst/>
          <a:ahLst/>
          <a:cxnLst/>
          <a:rect l="0" t="0" r="0" b="0"/>
          <a:pathLst>
            <a:path>
              <a:moveTo>
                <a:pt x="0" y="0"/>
              </a:moveTo>
              <a:lnTo>
                <a:pt x="0" y="1503903"/>
              </a:lnTo>
              <a:lnTo>
                <a:pt x="150390" y="1503903"/>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8A53F9A9-04C7-4431-A3D3-202363890C8D}">
      <dsp:nvSpPr>
        <dsp:cNvPr id="0" name=""/>
        <dsp:cNvSpPr/>
      </dsp:nvSpPr>
      <dsp:spPr>
        <a:xfrm>
          <a:off x="3911426" y="1881726"/>
          <a:ext cx="1203122" cy="751951"/>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Configure sample portal</a:t>
          </a:r>
        </a:p>
      </dsp:txBody>
      <dsp:txXfrm>
        <a:off x="3933450" y="1903750"/>
        <a:ext cx="1159074" cy="707903"/>
      </dsp:txXfrm>
    </dsp:sp>
    <dsp:sp modelId="{FA768979-E915-421E-AAC2-C927EFF65A77}">
      <dsp:nvSpPr>
        <dsp:cNvPr id="0" name=""/>
        <dsp:cNvSpPr/>
      </dsp:nvSpPr>
      <dsp:spPr>
        <a:xfrm>
          <a:off x="5490524" y="1847"/>
          <a:ext cx="1503903" cy="751951"/>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Collaboration Manager</a:t>
          </a:r>
        </a:p>
      </dsp:txBody>
      <dsp:txXfrm>
        <a:off x="5512548" y="23871"/>
        <a:ext cx="1459855" cy="707903"/>
      </dsp:txXfrm>
    </dsp:sp>
    <dsp:sp modelId="{A57955CB-9CDD-4641-96F5-475280EAC841}">
      <dsp:nvSpPr>
        <dsp:cNvPr id="0" name=""/>
        <dsp:cNvSpPr/>
      </dsp:nvSpPr>
      <dsp:spPr>
        <a:xfrm>
          <a:off x="5640915" y="753799"/>
          <a:ext cx="150390" cy="563963"/>
        </a:xfrm>
        <a:custGeom>
          <a:avLst/>
          <a:gdLst/>
          <a:ahLst/>
          <a:cxnLst/>
          <a:rect l="0" t="0" r="0" b="0"/>
          <a:pathLst>
            <a:path>
              <a:moveTo>
                <a:pt x="0" y="0"/>
              </a:moveTo>
              <a:lnTo>
                <a:pt x="0" y="563963"/>
              </a:lnTo>
              <a:lnTo>
                <a:pt x="150390" y="563963"/>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70FEB89B-D596-43B8-9AD1-C1B035505177}">
      <dsp:nvSpPr>
        <dsp:cNvPr id="0" name=""/>
        <dsp:cNvSpPr/>
      </dsp:nvSpPr>
      <dsp:spPr>
        <a:xfrm>
          <a:off x="5791305" y="941787"/>
          <a:ext cx="1203122" cy="751951"/>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Configure settings values </a:t>
          </a:r>
        </a:p>
      </dsp:txBody>
      <dsp:txXfrm>
        <a:off x="5813329" y="963811"/>
        <a:ext cx="1159074" cy="707903"/>
      </dsp:txXfrm>
    </dsp:sp>
    <dsp:sp modelId="{314A63CF-6C00-458C-9942-3DD2B8B7D8D9}">
      <dsp:nvSpPr>
        <dsp:cNvPr id="0" name=""/>
        <dsp:cNvSpPr/>
      </dsp:nvSpPr>
      <dsp:spPr>
        <a:xfrm>
          <a:off x="5640915" y="753799"/>
          <a:ext cx="150390" cy="1503903"/>
        </a:xfrm>
        <a:custGeom>
          <a:avLst/>
          <a:gdLst/>
          <a:ahLst/>
          <a:cxnLst/>
          <a:rect l="0" t="0" r="0" b="0"/>
          <a:pathLst>
            <a:path>
              <a:moveTo>
                <a:pt x="0" y="0"/>
              </a:moveTo>
              <a:lnTo>
                <a:pt x="0" y="1503903"/>
              </a:lnTo>
              <a:lnTo>
                <a:pt x="150390" y="150390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26E0EE-564B-45E5-8D61-3D01EBD8FF6B}">
      <dsp:nvSpPr>
        <dsp:cNvPr id="0" name=""/>
        <dsp:cNvSpPr/>
      </dsp:nvSpPr>
      <dsp:spPr>
        <a:xfrm>
          <a:off x="5791305" y="1881726"/>
          <a:ext cx="1203122" cy="751951"/>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Share app with users</a:t>
          </a:r>
        </a:p>
      </dsp:txBody>
      <dsp:txXfrm>
        <a:off x="5813329" y="1903750"/>
        <a:ext cx="1159074" cy="707903"/>
      </dsp:txXfrm>
    </dsp:sp>
    <dsp:sp modelId="{CDC06E87-137B-423A-A665-3F915F37DA84}">
      <dsp:nvSpPr>
        <dsp:cNvPr id="0" name=""/>
        <dsp:cNvSpPr/>
      </dsp:nvSpPr>
      <dsp:spPr>
        <a:xfrm>
          <a:off x="5640915" y="753799"/>
          <a:ext cx="150390" cy="2443842"/>
        </a:xfrm>
        <a:custGeom>
          <a:avLst/>
          <a:gdLst/>
          <a:ahLst/>
          <a:cxnLst/>
          <a:rect l="0" t="0" r="0" b="0"/>
          <a:pathLst>
            <a:path>
              <a:moveTo>
                <a:pt x="0" y="0"/>
              </a:moveTo>
              <a:lnTo>
                <a:pt x="0" y="2443842"/>
              </a:lnTo>
              <a:lnTo>
                <a:pt x="150390" y="2443842"/>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421FA7-BCB5-4784-A90E-820C3111BB69}">
      <dsp:nvSpPr>
        <dsp:cNvPr id="0" name=""/>
        <dsp:cNvSpPr/>
      </dsp:nvSpPr>
      <dsp:spPr>
        <a:xfrm>
          <a:off x="5791305" y="2821666"/>
          <a:ext cx="1203122" cy="751951"/>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dirty="0"/>
            <a:t>Assigning records to users</a:t>
          </a:r>
        </a:p>
      </dsp:txBody>
      <dsp:txXfrm>
        <a:off x="5813329" y="2843690"/>
        <a:ext cx="1159074" cy="7079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7EF7AA-72AA-4D02-AE75-C8AB51D8B923}">
      <dsp:nvSpPr>
        <dsp:cNvPr id="0" name=""/>
        <dsp:cNvSpPr/>
      </dsp:nvSpPr>
      <dsp:spPr>
        <a:xfrm>
          <a:off x="2496146" y="1191"/>
          <a:ext cx="1411128" cy="705564"/>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mj-lt"/>
            </a:rPr>
            <a:t>Unified Customer Profile</a:t>
          </a:r>
        </a:p>
      </dsp:txBody>
      <dsp:txXfrm>
        <a:off x="2516811" y="21856"/>
        <a:ext cx="1369798" cy="664234"/>
      </dsp:txXfrm>
    </dsp:sp>
    <dsp:sp modelId="{6E563820-8666-4271-BFC9-DD8EC3B1B605}">
      <dsp:nvSpPr>
        <dsp:cNvPr id="0" name=""/>
        <dsp:cNvSpPr/>
      </dsp:nvSpPr>
      <dsp:spPr>
        <a:xfrm>
          <a:off x="2637259" y="706756"/>
          <a:ext cx="141112" cy="529173"/>
        </a:xfrm>
        <a:custGeom>
          <a:avLst/>
          <a:gdLst/>
          <a:ahLst/>
          <a:cxnLst/>
          <a:rect l="0" t="0" r="0" b="0"/>
          <a:pathLst>
            <a:path>
              <a:moveTo>
                <a:pt x="0" y="0"/>
              </a:moveTo>
              <a:lnTo>
                <a:pt x="0" y="529173"/>
              </a:lnTo>
              <a:lnTo>
                <a:pt x="141112" y="529173"/>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7B287B5A-4890-485C-97F8-CA801633BB4A}">
      <dsp:nvSpPr>
        <dsp:cNvPr id="0" name=""/>
        <dsp:cNvSpPr/>
      </dsp:nvSpPr>
      <dsp:spPr>
        <a:xfrm>
          <a:off x="2778372" y="883147"/>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asic User</a:t>
          </a:r>
        </a:p>
      </dsp:txBody>
      <dsp:txXfrm>
        <a:off x="2799037" y="903812"/>
        <a:ext cx="1087573" cy="664234"/>
      </dsp:txXfrm>
    </dsp:sp>
    <dsp:sp modelId="{1EEA27D5-F0A2-48F9-B6A5-B56930127CB0}">
      <dsp:nvSpPr>
        <dsp:cNvPr id="0" name=""/>
        <dsp:cNvSpPr/>
      </dsp:nvSpPr>
      <dsp:spPr>
        <a:xfrm>
          <a:off x="2637259" y="706756"/>
          <a:ext cx="141112" cy="1411128"/>
        </a:xfrm>
        <a:custGeom>
          <a:avLst/>
          <a:gdLst/>
          <a:ahLst/>
          <a:cxnLst/>
          <a:rect l="0" t="0" r="0" b="0"/>
          <a:pathLst>
            <a:path>
              <a:moveTo>
                <a:pt x="0" y="0"/>
              </a:moveTo>
              <a:lnTo>
                <a:pt x="0" y="1411128"/>
              </a:lnTo>
              <a:lnTo>
                <a:pt x="141112" y="1411128"/>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D789285D-CFC4-4AB8-A3CF-396B81EE868E}">
      <dsp:nvSpPr>
        <dsp:cNvPr id="0" name=""/>
        <dsp:cNvSpPr/>
      </dsp:nvSpPr>
      <dsp:spPr>
        <a:xfrm>
          <a:off x="2778372" y="1765102"/>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MC4FSI Basic User</a:t>
          </a:r>
        </a:p>
      </dsp:txBody>
      <dsp:txXfrm>
        <a:off x="2799037" y="1785767"/>
        <a:ext cx="1087573" cy="664234"/>
      </dsp:txXfrm>
    </dsp:sp>
    <dsp:sp modelId="{561332E0-0D81-4CB6-9D99-0D67CE29F678}">
      <dsp:nvSpPr>
        <dsp:cNvPr id="0" name=""/>
        <dsp:cNvSpPr/>
      </dsp:nvSpPr>
      <dsp:spPr>
        <a:xfrm>
          <a:off x="2637259" y="706756"/>
          <a:ext cx="141112" cy="2293084"/>
        </a:xfrm>
        <a:custGeom>
          <a:avLst/>
          <a:gdLst/>
          <a:ahLst/>
          <a:cxnLst/>
          <a:rect l="0" t="0" r="0" b="0"/>
          <a:pathLst>
            <a:path>
              <a:moveTo>
                <a:pt x="0" y="0"/>
              </a:moveTo>
              <a:lnTo>
                <a:pt x="0" y="2293084"/>
              </a:lnTo>
              <a:lnTo>
                <a:pt x="141112" y="229308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7CBDEB-668E-49B9-B9A6-AE968A2D5A40}">
      <dsp:nvSpPr>
        <dsp:cNvPr id="0" name=""/>
        <dsp:cNvSpPr/>
      </dsp:nvSpPr>
      <dsp:spPr>
        <a:xfrm>
          <a:off x="2778372" y="2647058"/>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Retail Banking – contributor</a:t>
          </a:r>
        </a:p>
      </dsp:txBody>
      <dsp:txXfrm>
        <a:off x="2799037" y="2667723"/>
        <a:ext cx="1087573" cy="664234"/>
      </dsp:txXfrm>
    </dsp:sp>
    <dsp:sp modelId="{A06B2E77-2335-4F01-BCBA-483F21D96BBA}">
      <dsp:nvSpPr>
        <dsp:cNvPr id="0" name=""/>
        <dsp:cNvSpPr/>
      </dsp:nvSpPr>
      <dsp:spPr>
        <a:xfrm>
          <a:off x="2637259" y="706756"/>
          <a:ext cx="141112" cy="3175040"/>
        </a:xfrm>
        <a:custGeom>
          <a:avLst/>
          <a:gdLst/>
          <a:ahLst/>
          <a:cxnLst/>
          <a:rect l="0" t="0" r="0" b="0"/>
          <a:pathLst>
            <a:path>
              <a:moveTo>
                <a:pt x="0" y="0"/>
              </a:moveTo>
              <a:lnTo>
                <a:pt x="0" y="3175040"/>
              </a:lnTo>
              <a:lnTo>
                <a:pt x="141112" y="317504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76A61A-61DA-432F-BFCF-D040FF8D4185}">
      <dsp:nvSpPr>
        <dsp:cNvPr id="0" name=""/>
        <dsp:cNvSpPr/>
      </dsp:nvSpPr>
      <dsp:spPr>
        <a:xfrm>
          <a:off x="2778372" y="3529014"/>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Relationship manager </a:t>
          </a:r>
        </a:p>
      </dsp:txBody>
      <dsp:txXfrm>
        <a:off x="2799037" y="3549679"/>
        <a:ext cx="1087573" cy="664234"/>
      </dsp:txXfrm>
    </dsp:sp>
    <dsp:sp modelId="{874A1B6B-89B0-4121-9F07-F9ACA0424D7F}">
      <dsp:nvSpPr>
        <dsp:cNvPr id="0" name=""/>
        <dsp:cNvSpPr/>
      </dsp:nvSpPr>
      <dsp:spPr>
        <a:xfrm>
          <a:off x="2637259" y="706756"/>
          <a:ext cx="141112" cy="4056995"/>
        </a:xfrm>
        <a:custGeom>
          <a:avLst/>
          <a:gdLst/>
          <a:ahLst/>
          <a:cxnLst/>
          <a:rect l="0" t="0" r="0" b="0"/>
          <a:pathLst>
            <a:path>
              <a:moveTo>
                <a:pt x="0" y="0"/>
              </a:moveTo>
              <a:lnTo>
                <a:pt x="0" y="4056995"/>
              </a:lnTo>
              <a:lnTo>
                <a:pt x="141112" y="405699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9548D8-BD57-4048-8E67-7757B3BFBB50}">
      <dsp:nvSpPr>
        <dsp:cNvPr id="0" name=""/>
        <dsp:cNvSpPr/>
      </dsp:nvSpPr>
      <dsp:spPr>
        <a:xfrm>
          <a:off x="2778372" y="4410969"/>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Financial Intelligence user (optional for UCP and CI)</a:t>
          </a:r>
        </a:p>
      </dsp:txBody>
      <dsp:txXfrm>
        <a:off x="2799037" y="4431634"/>
        <a:ext cx="1087573" cy="664234"/>
      </dsp:txXfrm>
    </dsp:sp>
    <dsp:sp modelId="{E27E8E49-7D50-44AB-85C4-270AAF54FBD3}">
      <dsp:nvSpPr>
        <dsp:cNvPr id="0" name=""/>
        <dsp:cNvSpPr/>
      </dsp:nvSpPr>
      <dsp:spPr>
        <a:xfrm>
          <a:off x="4260057" y="1191"/>
          <a:ext cx="1411128" cy="705564"/>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mj-lt"/>
            </a:rPr>
            <a:t>Customer Onboarding</a:t>
          </a:r>
        </a:p>
      </dsp:txBody>
      <dsp:txXfrm>
        <a:off x="4280722" y="21856"/>
        <a:ext cx="1369798" cy="664234"/>
      </dsp:txXfrm>
    </dsp:sp>
    <dsp:sp modelId="{C2D859BF-8F12-4AAE-8380-EB83EC8770DF}">
      <dsp:nvSpPr>
        <dsp:cNvPr id="0" name=""/>
        <dsp:cNvSpPr/>
      </dsp:nvSpPr>
      <dsp:spPr>
        <a:xfrm>
          <a:off x="4401170" y="706756"/>
          <a:ext cx="141112" cy="529173"/>
        </a:xfrm>
        <a:custGeom>
          <a:avLst/>
          <a:gdLst/>
          <a:ahLst/>
          <a:cxnLst/>
          <a:rect l="0" t="0" r="0" b="0"/>
          <a:pathLst>
            <a:path>
              <a:moveTo>
                <a:pt x="0" y="0"/>
              </a:moveTo>
              <a:lnTo>
                <a:pt x="0" y="529173"/>
              </a:lnTo>
              <a:lnTo>
                <a:pt x="141112" y="529173"/>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9DB7C7B9-90CF-46CF-BEAC-ED40985E8D48}">
      <dsp:nvSpPr>
        <dsp:cNvPr id="0" name=""/>
        <dsp:cNvSpPr/>
      </dsp:nvSpPr>
      <dsp:spPr>
        <a:xfrm>
          <a:off x="4542283" y="883147"/>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asic User</a:t>
          </a:r>
        </a:p>
      </dsp:txBody>
      <dsp:txXfrm>
        <a:off x="4562948" y="903812"/>
        <a:ext cx="1087573" cy="664234"/>
      </dsp:txXfrm>
    </dsp:sp>
    <dsp:sp modelId="{25620F1C-8E6F-49F9-8841-FC7EE2749E4E}">
      <dsp:nvSpPr>
        <dsp:cNvPr id="0" name=""/>
        <dsp:cNvSpPr/>
      </dsp:nvSpPr>
      <dsp:spPr>
        <a:xfrm>
          <a:off x="4401170" y="706756"/>
          <a:ext cx="141112" cy="1411128"/>
        </a:xfrm>
        <a:custGeom>
          <a:avLst/>
          <a:gdLst/>
          <a:ahLst/>
          <a:cxnLst/>
          <a:rect l="0" t="0" r="0" b="0"/>
          <a:pathLst>
            <a:path>
              <a:moveTo>
                <a:pt x="0" y="0"/>
              </a:moveTo>
              <a:lnTo>
                <a:pt x="0" y="1411128"/>
              </a:lnTo>
              <a:lnTo>
                <a:pt x="141112" y="1411128"/>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8A53F9A9-04C7-4431-A3D3-202363890C8D}">
      <dsp:nvSpPr>
        <dsp:cNvPr id="0" name=""/>
        <dsp:cNvSpPr/>
      </dsp:nvSpPr>
      <dsp:spPr>
        <a:xfrm>
          <a:off x="4542283" y="1765102"/>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a:t>MC4FSI Basic User</a:t>
          </a:r>
          <a:endParaRPr lang="en-US" sz="1000" kern="1200" dirty="0"/>
        </a:p>
      </dsp:txBody>
      <dsp:txXfrm>
        <a:off x="4562948" y="1785767"/>
        <a:ext cx="1087573" cy="664234"/>
      </dsp:txXfrm>
    </dsp:sp>
    <dsp:sp modelId="{4166AF23-DC0C-44B4-89F0-B4582B4C9389}">
      <dsp:nvSpPr>
        <dsp:cNvPr id="0" name=""/>
        <dsp:cNvSpPr/>
      </dsp:nvSpPr>
      <dsp:spPr>
        <a:xfrm>
          <a:off x="4401170" y="706756"/>
          <a:ext cx="141112" cy="2293084"/>
        </a:xfrm>
        <a:custGeom>
          <a:avLst/>
          <a:gdLst/>
          <a:ahLst/>
          <a:cxnLst/>
          <a:rect l="0" t="0" r="0" b="0"/>
          <a:pathLst>
            <a:path>
              <a:moveTo>
                <a:pt x="0" y="0"/>
              </a:moveTo>
              <a:lnTo>
                <a:pt x="0" y="2293084"/>
              </a:lnTo>
              <a:lnTo>
                <a:pt x="141112" y="2293084"/>
              </a:lnTo>
            </a:path>
          </a:pathLst>
        </a:custGeom>
        <a:noFill/>
        <a:ln w="9525" cap="flat" cmpd="sng" algn="ctr">
          <a:solidFill>
            <a:schemeClr val="dk1"/>
          </a:solidFill>
          <a:prstDash val="solid"/>
        </a:ln>
        <a:effectLst/>
      </dsp:spPr>
      <dsp:style>
        <a:lnRef idx="1">
          <a:schemeClr val="dk1"/>
        </a:lnRef>
        <a:fillRef idx="0">
          <a:schemeClr val="dk1"/>
        </a:fillRef>
        <a:effectRef idx="0">
          <a:schemeClr val="dk1"/>
        </a:effectRef>
        <a:fontRef idx="minor">
          <a:schemeClr val="tx1"/>
        </a:fontRef>
      </dsp:style>
    </dsp:sp>
    <dsp:sp modelId="{D37D394D-F51C-412F-8E3D-B5FF739937FC}">
      <dsp:nvSpPr>
        <dsp:cNvPr id="0" name=""/>
        <dsp:cNvSpPr/>
      </dsp:nvSpPr>
      <dsp:spPr>
        <a:xfrm>
          <a:off x="4542283" y="2647058"/>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Loan Manager</a:t>
          </a:r>
        </a:p>
      </dsp:txBody>
      <dsp:txXfrm>
        <a:off x="4562948" y="2667723"/>
        <a:ext cx="1087573" cy="664234"/>
      </dsp:txXfrm>
    </dsp:sp>
    <dsp:sp modelId="{FA768979-E915-421E-AAC2-C927EFF65A77}">
      <dsp:nvSpPr>
        <dsp:cNvPr id="0" name=""/>
        <dsp:cNvSpPr/>
      </dsp:nvSpPr>
      <dsp:spPr>
        <a:xfrm>
          <a:off x="6023968" y="1191"/>
          <a:ext cx="1411128" cy="705564"/>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mj-lt"/>
            </a:rPr>
            <a:t>Collaboration Manager</a:t>
          </a:r>
        </a:p>
      </dsp:txBody>
      <dsp:txXfrm>
        <a:off x="6044633" y="21856"/>
        <a:ext cx="1369798" cy="664234"/>
      </dsp:txXfrm>
    </dsp:sp>
    <dsp:sp modelId="{A57955CB-9CDD-4641-96F5-475280EAC841}">
      <dsp:nvSpPr>
        <dsp:cNvPr id="0" name=""/>
        <dsp:cNvSpPr/>
      </dsp:nvSpPr>
      <dsp:spPr>
        <a:xfrm>
          <a:off x="6165081" y="706756"/>
          <a:ext cx="141112" cy="529173"/>
        </a:xfrm>
        <a:custGeom>
          <a:avLst/>
          <a:gdLst/>
          <a:ahLst/>
          <a:cxnLst/>
          <a:rect l="0" t="0" r="0" b="0"/>
          <a:pathLst>
            <a:path>
              <a:moveTo>
                <a:pt x="0" y="0"/>
              </a:moveTo>
              <a:lnTo>
                <a:pt x="0" y="529173"/>
              </a:lnTo>
              <a:lnTo>
                <a:pt x="141112" y="52917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FEB89B-D596-43B8-9AD1-C1B035505177}">
      <dsp:nvSpPr>
        <dsp:cNvPr id="0" name=""/>
        <dsp:cNvSpPr/>
      </dsp:nvSpPr>
      <dsp:spPr>
        <a:xfrm>
          <a:off x="6306194" y="883147"/>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ollaboration Toolkit User</a:t>
          </a:r>
        </a:p>
      </dsp:txBody>
      <dsp:txXfrm>
        <a:off x="6326859" y="903812"/>
        <a:ext cx="1087573" cy="664234"/>
      </dsp:txXfrm>
    </dsp:sp>
    <dsp:sp modelId="{4FFA3757-6E59-4B1F-A80F-C91F66157650}">
      <dsp:nvSpPr>
        <dsp:cNvPr id="0" name=""/>
        <dsp:cNvSpPr/>
      </dsp:nvSpPr>
      <dsp:spPr>
        <a:xfrm>
          <a:off x="6165081" y="706756"/>
          <a:ext cx="141112" cy="1411128"/>
        </a:xfrm>
        <a:custGeom>
          <a:avLst/>
          <a:gdLst/>
          <a:ahLst/>
          <a:cxnLst/>
          <a:rect l="0" t="0" r="0" b="0"/>
          <a:pathLst>
            <a:path>
              <a:moveTo>
                <a:pt x="0" y="0"/>
              </a:moveTo>
              <a:lnTo>
                <a:pt x="0" y="1411128"/>
              </a:lnTo>
              <a:lnTo>
                <a:pt x="141112" y="1411128"/>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FB24212-9F99-4D4B-93BD-F80E8E0F5ECE}">
      <dsp:nvSpPr>
        <dsp:cNvPr id="0" name=""/>
        <dsp:cNvSpPr/>
      </dsp:nvSpPr>
      <dsp:spPr>
        <a:xfrm>
          <a:off x="6306194" y="1765102"/>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ollaboration Manager for Loans User</a:t>
          </a:r>
        </a:p>
      </dsp:txBody>
      <dsp:txXfrm>
        <a:off x="6326859" y="1785767"/>
        <a:ext cx="1087573" cy="664234"/>
      </dsp:txXfrm>
    </dsp:sp>
    <dsp:sp modelId="{1E88FC39-0007-4CCB-9DC6-503E072A51DF}">
      <dsp:nvSpPr>
        <dsp:cNvPr id="0" name=""/>
        <dsp:cNvSpPr/>
      </dsp:nvSpPr>
      <dsp:spPr>
        <a:xfrm>
          <a:off x="6165081" y="706756"/>
          <a:ext cx="141112" cy="2293084"/>
        </a:xfrm>
        <a:custGeom>
          <a:avLst/>
          <a:gdLst/>
          <a:ahLst/>
          <a:cxnLst/>
          <a:rect l="0" t="0" r="0" b="0"/>
          <a:pathLst>
            <a:path>
              <a:moveTo>
                <a:pt x="0" y="0"/>
              </a:moveTo>
              <a:lnTo>
                <a:pt x="0" y="2293084"/>
              </a:lnTo>
              <a:lnTo>
                <a:pt x="141112" y="229308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756DBEA-E287-4415-9F11-DC2C1D496A10}">
      <dsp:nvSpPr>
        <dsp:cNvPr id="0" name=""/>
        <dsp:cNvSpPr/>
      </dsp:nvSpPr>
      <dsp:spPr>
        <a:xfrm>
          <a:off x="6306194" y="2647058"/>
          <a:ext cx="1128903" cy="70556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dirty="0"/>
            <a:t>Loan Officer</a:t>
          </a:r>
        </a:p>
      </dsp:txBody>
      <dsp:txXfrm>
        <a:off x="6326859" y="2667723"/>
        <a:ext cx="1087573" cy="664234"/>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ABD4A4-AF96-4F79-BEA0-A5ABAF6DF90C}"/>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1D6AEDC-2DC7-48B4-BE07-EBBB9049E937}"/>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B94E1EB0-F43F-4C16-9D03-DE1E69C7B92F}" type="datetimeFigureOut">
              <a:rPr lang="en-US" smtClean="0"/>
              <a:t>11/9/2021</a:t>
            </a:fld>
            <a:endParaRPr lang="en-US"/>
          </a:p>
        </p:txBody>
      </p:sp>
      <p:sp>
        <p:nvSpPr>
          <p:cNvPr id="4" name="Footer Placeholder 3">
            <a:extLst>
              <a:ext uri="{FF2B5EF4-FFF2-40B4-BE49-F238E27FC236}">
                <a16:creationId xmlns:a16="http://schemas.microsoft.com/office/drawing/2014/main" id="{33ECBEED-FC12-45DD-A250-5372199C0A24}"/>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7A9033B-8B06-4D73-B54A-91779E26E152}"/>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CD9A0994-F19B-420C-AB8D-4B7E5400E22B}" type="slidenum">
              <a:rPr lang="en-US" smtClean="0"/>
              <a:t>‹#›</a:t>
            </a:fld>
            <a:endParaRPr lang="en-US"/>
          </a:p>
        </p:txBody>
      </p:sp>
    </p:spTree>
    <p:extLst>
      <p:ext uri="{BB962C8B-B14F-4D97-AF65-F5344CB8AC3E}">
        <p14:creationId xmlns:p14="http://schemas.microsoft.com/office/powerpoint/2010/main" val="1008846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95300"/>
          </a:xfrm>
          <a:prstGeom prst="rect">
            <a:avLst/>
          </a:prstGeom>
        </p:spPr>
        <p:txBody>
          <a:bodyPr vert="horz" lIns="185596" tIns="92798" rIns="185596" bIns="92798" rtlCol="0"/>
          <a:lstStyle>
            <a:lvl1pPr algn="l">
              <a:defRPr sz="1200"/>
            </a:lvl1pPr>
          </a:lstStyle>
          <a:p>
            <a:endParaRPr lang="en-US" sz="1200"/>
          </a:p>
        </p:txBody>
      </p:sp>
      <p:sp>
        <p:nvSpPr>
          <p:cNvPr id="3" name="Date Placeholder 2"/>
          <p:cNvSpPr>
            <a:spLocks noGrp="1"/>
          </p:cNvSpPr>
          <p:nvPr>
            <p:ph type="dt" idx="1"/>
          </p:nvPr>
        </p:nvSpPr>
        <p:spPr>
          <a:xfrm>
            <a:off x="4143587" y="0"/>
            <a:ext cx="3169920" cy="495301"/>
          </a:xfrm>
          <a:prstGeom prst="rect">
            <a:avLst/>
          </a:prstGeom>
        </p:spPr>
        <p:txBody>
          <a:bodyPr vert="horz" lIns="185596" tIns="92798" rIns="185596" bIns="92798" rtlCol="0"/>
          <a:lstStyle>
            <a:lvl1pPr algn="r">
              <a:defRPr sz="1200"/>
            </a:lvl1pPr>
          </a:lstStyle>
          <a:p>
            <a:fld id="{9BE082E2-88BE-D546-80BA-17516A133E2F}" type="datetimeFigureOut">
              <a:rPr lang="en-US" smtClean="0"/>
              <a:pPr/>
              <a:t>11/9/2021</a:t>
            </a:fld>
            <a:endParaRPr lang="en-US" sz="1200"/>
          </a:p>
        </p:txBody>
      </p:sp>
      <p:sp>
        <p:nvSpPr>
          <p:cNvPr id="4" name="Slide Image Placeholder 3"/>
          <p:cNvSpPr>
            <a:spLocks noGrp="1" noRot="1" noChangeAspect="1"/>
          </p:cNvSpPr>
          <p:nvPr>
            <p:ph type="sldImg" idx="2"/>
          </p:nvPr>
        </p:nvSpPr>
        <p:spPr>
          <a:xfrm>
            <a:off x="420413" y="826269"/>
            <a:ext cx="6472682" cy="3640956"/>
          </a:xfrm>
          <a:prstGeom prst="rect">
            <a:avLst/>
          </a:prstGeom>
          <a:noFill/>
          <a:ln w="12700">
            <a:solidFill>
              <a:prstClr val="black"/>
            </a:solidFill>
          </a:ln>
        </p:spPr>
        <p:txBody>
          <a:bodyPr vert="horz" lIns="185596" tIns="92798" rIns="185596" bIns="92798" rtlCol="0" anchor="ctr"/>
          <a:lstStyle/>
          <a:p>
            <a:endParaRPr lang="en-US"/>
          </a:p>
        </p:txBody>
      </p:sp>
      <p:sp>
        <p:nvSpPr>
          <p:cNvPr id="5" name="Notes Placeholder 4"/>
          <p:cNvSpPr>
            <a:spLocks noGrp="1"/>
          </p:cNvSpPr>
          <p:nvPr>
            <p:ph type="body" sz="quarter" idx="3"/>
          </p:nvPr>
        </p:nvSpPr>
        <p:spPr>
          <a:xfrm>
            <a:off x="730674" y="4881472"/>
            <a:ext cx="5852160" cy="4138703"/>
          </a:xfrm>
          <a:prstGeom prst="rect">
            <a:avLst/>
          </a:prstGeom>
        </p:spPr>
        <p:txBody>
          <a:bodyPr vert="horz" lIns="185596" tIns="92798" rIns="185596" bIns="9279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59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sz="1200">
                <a:solidFill>
                  <a:srgbClr val="50E6FF"/>
                </a:solidFill>
                <a:cs typeface="Segoe UI"/>
              </a:rPr>
              <a:t>Microsoft Cloud for Financial Services</a:t>
            </a:r>
            <a:r>
              <a:rPr lang="en-US" b="1"/>
              <a:t> </a:t>
            </a:r>
          </a:p>
          <a:p>
            <a:endParaRPr lang="en-US" b="1"/>
          </a:p>
          <a:p>
            <a:r>
              <a:rPr lang="en-US"/>
              <a:t>Welcome and thank you for joining me today in this overview of the Microsoft Cloud for Financial Service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effectLst/>
              </a:rPr>
              <a:t>&lt;click&gt;</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3414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You will be prompted with the Org picker dropdown which has a list of all orgs on your tenant. If you have just created your environment and not seeing your org in the list, give it a few minutes before you retry and it should reflect there.</a:t>
            </a:r>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When you select an environment to install, the Solution Center runs a dependency check in the background to make sure you have all that you need to get the solution working. For example , here&lt;point to screenshot&gt; you see that the org has the Power Apps dependency pre-installed before they kicked off the installation process. Hence, you don’t see any error and can proceed. </a:t>
            </a:r>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Once the dependency checkpoint is crossed, the installation process kicks in and you will see a progress status indicating the components that are getting deployed. Once ready you should receive a confirmation status from Solution Center indicating the success or failure of the deployment.</a:t>
            </a:r>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You can also track the solution status in Power Platform Admin Center under Dynamics 365 apps section</a:t>
            </a:r>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Once the installation is complete, you can begin the post deployment solution configurations in Solution Center. In this example, we have deployed Unified Customer Profile and we can see many options such as </a:t>
            </a:r>
            <a:r>
              <a:rPr lang="en-US" sz="1400" b="0" i="0" dirty="0">
                <a:solidFill>
                  <a:srgbClr val="171717"/>
                </a:solidFill>
                <a:effectLst/>
                <a:latin typeface="Segoe UI" panose="020B0502040204020203" pitchFamily="34" charset="0"/>
              </a:rPr>
              <a:t>Configure churn model as part of Customer intelligence. So you can access documentation for these configurations using the tiles here &lt;point to screenshot&gt; and complete your setup.</a:t>
            </a:r>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050" dirty="0"/>
              <a:t>The Post deployment solution configurations consist of enhancements across the clouds – Dynamics and M365 </a:t>
            </a:r>
          </a:p>
          <a:p>
            <a:r>
              <a:rPr lang="en-US" sz="1050" dirty="0"/>
              <a:t>Here&lt;point to lowest layer&gt; we see the Dynamics solution enhancements possible for each of the capabilities. Like for Customer Onboarding, you can configure Business Process flows and sample portal. Similarly you can configure Teams components such as Bookings and chat for Collaboration Manager in M365.</a:t>
            </a:r>
          </a:p>
          <a:p>
            <a:endParaRPr lang="en-US" sz="1050" dirty="0"/>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Now that the solution based configurations are complete, we will move on to user level configurations. Essentially assigning user licenses and appropriate security roles to the users in your enterprise. This slide shows a summary of the roles required for a user to access the core FSI capabilities. For instance, if you have deployed the Customer Onboarding solution, you will then configure your users to have &lt;point to slide&gt; </a:t>
            </a:r>
            <a:r>
              <a:rPr lang="en-US" sz="1400" b="0" i="0" dirty="0">
                <a:solidFill>
                  <a:srgbClr val="171717"/>
                </a:solidFill>
                <a:effectLst/>
                <a:latin typeface="Segoe UI" panose="020B0502040204020203" pitchFamily="34" charset="0"/>
              </a:rPr>
              <a:t>MC4FSI basic user and Loan manager </a:t>
            </a:r>
            <a:r>
              <a:rPr lang="en-US" sz="1050" dirty="0"/>
              <a:t>security roles.</a:t>
            </a:r>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dirty="0"/>
              <a:t>In this module, we will cover</a:t>
            </a:r>
          </a:p>
          <a:p>
            <a:pPr marL="171450" indent="-171450">
              <a:buFontTx/>
              <a:buChar char="-"/>
            </a:pPr>
            <a:r>
              <a:rPr lang="en-US" dirty="0"/>
              <a:t>FSI packaging and pricing,</a:t>
            </a:r>
          </a:p>
          <a:p>
            <a:pPr marL="171450" indent="-171450">
              <a:buFontTx/>
              <a:buChar char="-"/>
            </a:pPr>
            <a:r>
              <a:rPr lang="en-US" dirty="0"/>
              <a:t>Then we will delve into understanding FSI features and solution dependencies.</a:t>
            </a:r>
          </a:p>
          <a:p>
            <a:pPr marL="171450" indent="-171450">
              <a:buFontTx/>
              <a:buChar char="-"/>
            </a:pPr>
            <a:r>
              <a:rPr lang="en-US" dirty="0"/>
              <a:t>This will be followed by a deep dive on our Industry clouds offering, that is Microsoft Cloud Solution Center</a:t>
            </a:r>
          </a:p>
          <a:p>
            <a:pPr marL="171450" indent="-171450">
              <a:buFontTx/>
              <a:buChar char="-"/>
            </a:pPr>
            <a:r>
              <a:rPr lang="en-US" dirty="0"/>
              <a:t>And then we will move over to Post deployment configurations</a:t>
            </a:r>
          </a:p>
          <a:p>
            <a:endParaRPr lang="en-US" dirty="0"/>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11/9/2021 9: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200" dirty="0"/>
              <a:t>Before you begin on your Microsoft cloud for financial services journey, you should follow 4 steps –</a:t>
            </a:r>
          </a:p>
          <a:p>
            <a:r>
              <a:rPr lang="en-US" sz="1200" dirty="0"/>
              <a:t>First to – Select  the right FSI capabilities for your enterprise. Since FSI is split into multiple capabilities, you might choose to work with a subset or whole of the FSI, depending on what you see fit for your use cases.</a:t>
            </a:r>
          </a:p>
          <a:p>
            <a:r>
              <a:rPr lang="en-US" sz="1200" dirty="0"/>
              <a:t>Then, depending on what you choose, you will move on to Procuring the right licenses. The FSI license is mandatory, followed by other underlying licenses in Dynamics, Power Platform and M365. As we progress today, you will understand the prerequisites and license dependencies of each FSI capability</a:t>
            </a:r>
          </a:p>
          <a:p>
            <a:r>
              <a:rPr lang="en-US" sz="1200" dirty="0"/>
              <a:t>Once your have procured the right licenses, you will then kickoff the deployment step. </a:t>
            </a:r>
          </a:p>
          <a:p>
            <a:r>
              <a:rPr lang="en-US" sz="1200" dirty="0"/>
              <a:t>&lt;&lt;Since FSI cuts across multiple clouds, the deployment steps are via Microsoft Cloud Solution Center for Dynamics, via Azure Portal for Azure components, and via M365 admin center for Microsoft 365 components. &gt;&gt;</a:t>
            </a:r>
          </a:p>
          <a:p>
            <a:r>
              <a:rPr lang="en-US" sz="1200" dirty="0"/>
              <a:t>And post deployment, there are solution wise mandatory and optional configurations that need to be done for each module. With that your journey from selection to configuration will be complete and you can begin working with your FSI setup.</a:t>
            </a:r>
          </a:p>
          <a:p>
            <a:endParaRPr lang="en-US" sz="1200" dirty="0">
              <a:latin typeface="+mn-lt"/>
            </a:endParaRP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11/9/2021 9: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1898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MC-FSI SKU is priced at $20k/tenant/month.  It includes all 4 new capabilities at one price poin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 customer does not need to use all of the </a:t>
            </a:r>
            <a:r>
              <a:rPr lang="en-US" sz="1800" dirty="0">
                <a:effectLst/>
                <a:latin typeface="Calibri" panose="020F0502020204030204" pitchFamily="34" charset="0"/>
                <a:ea typeface="Calibri" panose="020F0502020204030204" pitchFamily="34" charset="0"/>
                <a:cs typeface="Calibri" panose="020F0502020204030204" pitchFamily="34" charset="0"/>
              </a:rPr>
              <a:t>features and, a Customer cannot just buy one of the capabilities as a standalone.</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KU covers 3 specific areas – 1) Purpose built industry IP encompassing all FSI capabilities in the form of applications, connectors and configurations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		2) Customer success benefits and </a:t>
            </a:r>
            <a:r>
              <a:rPr lang="en-US" sz="1800" dirty="0">
                <a:solidFill>
                  <a:srgbClr val="252423"/>
                </a:solidFill>
                <a:effectLst/>
                <a:latin typeface="Calibri" panose="020F0502020204030204" pitchFamily="34" charset="0"/>
                <a:ea typeface="Calibri" panose="020F0502020204030204" pitchFamily="34" charset="0"/>
                <a:cs typeface="Calibri" panose="020F0502020204030204" pitchFamily="34" charset="0"/>
              </a:rPr>
              <a:t>Support services available 24/7 with unlimited access to technical resources and more</a:t>
            </a:r>
            <a:endParaRPr lang="en-US" sz="1800" dirty="0">
              <a:solidFill>
                <a:srgbClr val="252423"/>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3) </a:t>
            </a:r>
            <a:r>
              <a:rPr lang="en-US" sz="1800" b="1" dirty="0">
                <a:solidFill>
                  <a:srgbClr val="252423"/>
                </a:solidFill>
                <a:effectLst/>
                <a:latin typeface="Calibri" panose="020F0502020204030204" pitchFamily="34" charset="0"/>
                <a:ea typeface="Calibri" panose="020F0502020204030204" pitchFamily="34" charset="0"/>
                <a:cs typeface="Times New Roman" panose="02020603050405020304" pitchFamily="18" charset="0"/>
              </a:rPr>
              <a:t>cloud benefits and trials</a:t>
            </a:r>
            <a:r>
              <a:rPr lang="en-US" sz="1800" b="1" dirty="0">
                <a:solidFill>
                  <a:srgbClr val="252423"/>
                </a:solidFill>
                <a:effectLst/>
                <a:latin typeface="Calibri" panose="020F0502020204030204" pitchFamily="34" charset="0"/>
                <a:ea typeface="Calibri" panose="020F0502020204030204" pitchFamily="34" charset="0"/>
                <a:cs typeface="Calibri" panose="020F0502020204030204" pitchFamily="34" charset="0"/>
              </a:rPr>
              <a:t> </a:t>
            </a:r>
            <a:r>
              <a:rPr lang="en-US" sz="1800" b="0" dirty="0">
                <a:solidFill>
                  <a:srgbClr val="252423"/>
                </a:solidFill>
                <a:effectLst/>
                <a:latin typeface="Calibri" panose="020F0502020204030204" pitchFamily="34" charset="0"/>
                <a:ea typeface="Calibri" panose="020F0502020204030204" pitchFamily="34" charset="0"/>
                <a:cs typeface="Calibri" panose="020F0502020204030204" pitchFamily="34" charset="0"/>
              </a:rPr>
              <a:t>that</a:t>
            </a:r>
            <a:r>
              <a:rPr lang="en-US" sz="1800" dirty="0">
                <a:solidFill>
                  <a:srgbClr val="252423"/>
                </a:solidFill>
                <a:effectLst/>
                <a:latin typeface="Calibri" panose="020F0502020204030204" pitchFamily="34" charset="0"/>
                <a:ea typeface="Calibri" panose="020F0502020204030204" pitchFamily="34" charset="0"/>
                <a:cs typeface="Calibri" panose="020F0502020204030204" pitchFamily="34" charset="0"/>
              </a:rPr>
              <a:t> are a sampling of existing Microsoft offerings  relevant to FSI industry, but they are not exclusively for FSI cloud like the 4 new capabilities.  For example- </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solidFill>
                  <a:srgbClr val="252423"/>
                </a:solidFill>
                <a:effectLst/>
                <a:latin typeface="Calibri" panose="020F0502020204030204" pitchFamily="34" charset="0"/>
                <a:ea typeface="Calibri" panose="020F0502020204030204" pitchFamily="34" charset="0"/>
                <a:cs typeface="Calibri" panose="020F0502020204030204" pitchFamily="34" charset="0"/>
              </a:rPr>
              <a:t>Trial access to industry cloud benefits and discount offering including M365 Compliance Manager (90 days), Financial Services Compliance Program (2 hours), and Dynamics 365 DFP (limited quantity).  </a:t>
            </a:r>
            <a:endParaRPr lang="en-US" sz="1800" dirty="0">
              <a:solidFill>
                <a:srgbClr val="252423"/>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800"/>
              </a:spcAft>
              <a:buFont typeface="Arial" panose="020B0604020202020204" pitchFamily="34" charset="0"/>
              <a:buNone/>
              <a:tabLst>
                <a:tab pos="457200" algn="l"/>
              </a:tabLst>
            </a:pPr>
            <a:endParaRPr lang="en-US" sz="1800" dirty="0">
              <a:solidFill>
                <a:srgbClr val="252423"/>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800" dirty="0">
                <a:solidFill>
                  <a:srgbClr val="252423"/>
                </a:solidFill>
                <a:effectLst/>
                <a:latin typeface="Calibri" panose="020F0502020204030204" pitchFamily="34" charset="0"/>
                <a:ea typeface="Calibri" panose="020F0502020204030204" pitchFamily="34" charset="0"/>
                <a:cs typeface="Calibri" panose="020F0502020204030204" pitchFamily="34" charset="0"/>
              </a:rPr>
              <a:t>Also note that the Azure services and any other dependencies are not included in the $20,000 per tenant/per month and need to be purchased separately based on the selected set of capabilities</a:t>
            </a:r>
            <a:endParaRPr lang="en-US" sz="1800" dirty="0">
              <a:solidFill>
                <a:srgbClr val="252423"/>
              </a:solidFill>
              <a:effectLst/>
              <a:latin typeface="Calibri" panose="020F0502020204030204" pitchFamily="34" charset="0"/>
              <a:ea typeface="Calibri" panose="020F0502020204030204" pitchFamily="34" charset="0"/>
              <a:cs typeface="Times New Roman" panose="02020603050405020304" pitchFamily="18" charset="0"/>
            </a:endParaRPr>
          </a:p>
          <a:p>
            <a:pPr marR="0" lvl="0" algn="l" defTabSz="914367" rtl="0" eaLnBrk="1" fontAlgn="auto" latinLnBrk="0" hangingPunct="1">
              <a:lnSpc>
                <a:spcPct val="100000"/>
              </a:lnSpc>
              <a:spcBef>
                <a:spcPts val="0"/>
              </a:spcBef>
              <a:spcAft>
                <a:spcPts val="600"/>
              </a:spcAft>
              <a:buClrTx/>
              <a:buSzTx/>
              <a:tabLst/>
              <a:defRPr/>
            </a:pPr>
            <a:endParaRPr lang="en-US" sz="1050" kern="0" dirty="0">
              <a:solidFill>
                <a:srgbClr val="000000"/>
              </a:solidFill>
              <a:cs typeface="Calibri" panose="020F0502020204030204" pitchFamily="34" charset="0"/>
            </a:endParaRPr>
          </a:p>
          <a:p>
            <a:pPr marR="0" lvl="0" algn="l" defTabSz="914367" rtl="0" eaLnBrk="1" fontAlgn="auto" latinLnBrk="0" hangingPunct="1">
              <a:lnSpc>
                <a:spcPct val="100000"/>
              </a:lnSpc>
              <a:spcBef>
                <a:spcPts val="0"/>
              </a:spcBef>
              <a:spcAft>
                <a:spcPts val="600"/>
              </a:spcAft>
              <a:buClrTx/>
              <a:buSzTx/>
              <a:tabLst/>
              <a:defRPr/>
            </a:pPr>
            <a:endParaRPr lang="en-US" sz="1050" kern="0" dirty="0">
              <a:solidFill>
                <a:srgbClr val="000000"/>
              </a:solidFill>
              <a:cs typeface="Calibri" panose="020F0502020204030204" pitchFamily="34" charset="0"/>
            </a:endParaRPr>
          </a:p>
          <a:p>
            <a:pPr rtl="0" fontAlgn="ctr">
              <a:spcBef>
                <a:spcPts val="0"/>
              </a:spcBef>
              <a:spcAft>
                <a:spcPts val="0"/>
              </a:spcAft>
              <a:buFont typeface="Arial" panose="020B0604020202020204" pitchFamily="34" charset="0"/>
              <a:buChar char="•"/>
            </a:pPr>
            <a:endParaRPr lang="en-IN" sz="1800" dirty="0">
              <a:effectLst/>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0037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R="0" lvl="0" algn="l" defTabSz="914367" rtl="0" eaLnBrk="1" fontAlgn="auto" latinLnBrk="0" hangingPunct="1">
              <a:lnSpc>
                <a:spcPct val="100000"/>
              </a:lnSpc>
              <a:spcBef>
                <a:spcPts val="0"/>
              </a:spcBef>
              <a:spcAft>
                <a:spcPts val="600"/>
              </a:spcAft>
              <a:buClrTx/>
              <a:buSzTx/>
              <a:tabLst/>
              <a:defRPr/>
            </a:pPr>
            <a:r>
              <a:rPr lang="en-US" sz="1050" kern="0" dirty="0">
                <a:solidFill>
                  <a:srgbClr val="000000"/>
                </a:solidFill>
                <a:cs typeface="Calibri" panose="020F0502020204030204" pitchFamily="34" charset="0"/>
              </a:rPr>
              <a:t>This slide shows a summary of the industry priority scenarios mapped to the specific  FSI capabilities  </a:t>
            </a:r>
            <a:r>
              <a:rPr lang="en-US" sz="1050" kern="0" dirty="0" err="1">
                <a:solidFill>
                  <a:srgbClr val="000000"/>
                </a:solidFill>
                <a:cs typeface="Calibri" panose="020F0502020204030204" pitchFamily="34" charset="0"/>
              </a:rPr>
              <a:t>alongwith</a:t>
            </a:r>
            <a:r>
              <a:rPr lang="en-US" sz="1050" kern="0" dirty="0">
                <a:solidFill>
                  <a:srgbClr val="000000"/>
                </a:solidFill>
                <a:cs typeface="Calibri" panose="020F0502020204030204" pitchFamily="34" charset="0"/>
              </a:rPr>
              <a:t> the licensing dependencies. For example if you were looking to empower collaboration for your customer, you would map it back to the Collaboration Manager capability and note that the licenses required would be M365 E3+ and Power Apps </a:t>
            </a:r>
            <a:r>
              <a:rPr lang="en-US" sz="1050" kern="0" dirty="0" err="1">
                <a:solidFill>
                  <a:srgbClr val="000000"/>
                </a:solidFill>
                <a:cs typeface="Calibri" panose="020F0502020204030204" pitchFamily="34" charset="0"/>
              </a:rPr>
              <a:t>alongwith</a:t>
            </a:r>
            <a:r>
              <a:rPr lang="en-US" sz="1050" kern="0" dirty="0">
                <a:solidFill>
                  <a:srgbClr val="000000"/>
                </a:solidFill>
                <a:cs typeface="Calibri" panose="020F0502020204030204" pitchFamily="34" charset="0"/>
              </a:rPr>
              <a:t> obviously the FSI addon </a:t>
            </a:r>
            <a:r>
              <a:rPr lang="en-US" sz="1050" kern="0" dirty="0" err="1">
                <a:solidFill>
                  <a:srgbClr val="000000"/>
                </a:solidFill>
                <a:cs typeface="Calibri" panose="020F0502020204030204" pitchFamily="34" charset="0"/>
              </a:rPr>
              <a:t>sku</a:t>
            </a:r>
            <a:r>
              <a:rPr lang="en-US" sz="1050" kern="0" dirty="0">
                <a:solidFill>
                  <a:srgbClr val="000000"/>
                </a:solidFill>
                <a:cs typeface="Calibri" panose="020F0502020204030204" pitchFamily="34"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050" dirty="0"/>
              <a:t>Now that we understand what licenses are required to get started, we will move to understand how to really deploy FSI.</a:t>
            </a:r>
          </a:p>
          <a:p>
            <a:r>
              <a:rPr lang="en-US" sz="1050" dirty="0"/>
              <a:t>Dynamics components-based installations can be now deployed through a new portal-based experience known as the Microsoft Cloud Solutions Cent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gradFill>
                  <a:gsLst>
                    <a:gs pos="2917">
                      <a:schemeClr val="tx1"/>
                    </a:gs>
                    <a:gs pos="30000">
                      <a:schemeClr val="tx1"/>
                    </a:gs>
                  </a:gsLst>
                  <a:lin ang="5400000" scaled="0"/>
                </a:gradFill>
              </a:rPr>
              <a:t>It is used to guide customers and partners through the deployment of capabilities for comprehensive Industry clouds such as FSI.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gradFill>
                  <a:gsLst>
                    <a:gs pos="2917">
                      <a:schemeClr val="tx1"/>
                    </a:gs>
                    <a:gs pos="30000">
                      <a:schemeClr val="tx1"/>
                    </a:gs>
                  </a:gsLst>
                  <a:lin ang="5400000" scaled="0"/>
                </a:gradFill>
              </a:rPr>
              <a:t>It is an orchestrator that simplifies the whole deployment process by checking licensing requirements and dependencies </a:t>
            </a:r>
            <a:r>
              <a:rPr lang="en-US" sz="1050" dirty="0"/>
              <a:t>so that you don’t have to memorize the table you saw in the last slides ;)</a:t>
            </a:r>
          </a:p>
          <a:p>
            <a:r>
              <a:rPr lang="en-US" sz="1050" dirty="0"/>
              <a:t>It also brings in a unified deployment and configuration experience across multiple applications.</a:t>
            </a:r>
          </a:p>
          <a:p>
            <a:r>
              <a:rPr lang="en-US" sz="1050" dirty="0"/>
              <a:t>Just couple of prerequisites before you begin deployment using the Microsoft Cloud Solutions Center –</a:t>
            </a:r>
          </a:p>
          <a:p>
            <a:pPr marL="171450" indent="-171450">
              <a:buFontTx/>
              <a:buChar char="-"/>
            </a:pPr>
            <a:r>
              <a:rPr lang="en-US" sz="1050" dirty="0"/>
              <a:t>The enterprise should have purchased the FSI </a:t>
            </a:r>
            <a:r>
              <a:rPr lang="en-US" sz="1050" dirty="0" err="1"/>
              <a:t>sku</a:t>
            </a:r>
            <a:endParaRPr lang="en-US" sz="1050" dirty="0"/>
          </a:p>
          <a:p>
            <a:pPr marL="171450" indent="-171450">
              <a:buFontTx/>
              <a:buChar char="-"/>
            </a:pPr>
            <a:r>
              <a:rPr lang="en-US" sz="1050" dirty="0"/>
              <a:t>The user logging into the Solution Center should have Power Platform admin or Dynamics 365 admin role to deploy FSI</a:t>
            </a:r>
          </a:p>
          <a:p>
            <a:pPr marL="171450" indent="-171450">
              <a:buFontTx/>
              <a:buChar char="-"/>
            </a:pPr>
            <a:r>
              <a:rPr lang="en-US" sz="1050" dirty="0"/>
              <a:t>User should also have the required licenses for FSI and dependencies  </a:t>
            </a:r>
          </a:p>
          <a:p>
            <a:endParaRPr lang="en-US" sz="1050" dirty="0"/>
          </a:p>
          <a:p>
            <a:endParaRPr lang="en-US" sz="1050" dirty="0"/>
          </a:p>
          <a:p>
            <a:pPr marR="0" lvl="0" algn="l" defTabSz="914367" rtl="0" eaLnBrk="1" fontAlgn="auto" latinLnBrk="0" hangingPunct="1">
              <a:lnSpc>
                <a:spcPct val="100000"/>
              </a:lnSpc>
              <a:spcBef>
                <a:spcPts val="0"/>
              </a:spcBef>
              <a:spcAft>
                <a:spcPts val="600"/>
              </a:spcAft>
              <a:buClrTx/>
              <a:buSzTx/>
              <a:tabLst/>
              <a:defRPr/>
            </a:pPr>
            <a:endParaRPr lang="en-US" sz="1050" kern="0" dirty="0">
              <a:solidFill>
                <a:srgbClr val="000000"/>
              </a:solidFill>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050" dirty="0"/>
              <a:t>Now let us understand the steps to follow in deploying FSI components via Microsoft Cloud Solution center </a:t>
            </a:r>
          </a:p>
          <a:p>
            <a:r>
              <a:rPr lang="en-US" sz="1050" dirty="0"/>
              <a:t>First off, when you purchase the </a:t>
            </a:r>
            <a:r>
              <a:rPr lang="en-US" sz="1050" dirty="0" err="1"/>
              <a:t>sku</a:t>
            </a:r>
            <a:r>
              <a:rPr lang="en-US" sz="1050" dirty="0"/>
              <a:t>, you would be greeted with a post purchase mail which will have a link to Solution Center to begin your deployment process. Nevertheless you can also go to aka.ms/</a:t>
            </a:r>
            <a:r>
              <a:rPr lang="en-US" sz="1050" dirty="0" err="1"/>
              <a:t>solutioncenter</a:t>
            </a:r>
            <a:r>
              <a:rPr lang="en-US" sz="1050" dirty="0"/>
              <a:t> to begin your deployment once the purchase is complete.</a:t>
            </a:r>
          </a:p>
          <a:p>
            <a:r>
              <a:rPr lang="en-US" sz="1050" dirty="0"/>
              <a:t>Solution Center is extremely user intuitive and you will be able to guide yourselves through the installation steps on your tenant there. </a:t>
            </a:r>
          </a:p>
          <a:p>
            <a:r>
              <a:rPr lang="en-US" sz="1050" dirty="0"/>
              <a:t>Once the installation is triggered,  you can view the status in Power Platform Admin Center and launch your FSI applications once complete.</a:t>
            </a:r>
          </a:p>
          <a:p>
            <a:endParaRPr lang="en-US" sz="1050" dirty="0"/>
          </a:p>
          <a:p>
            <a:endParaRPr lang="en-US" sz="1050" dirty="0"/>
          </a:p>
          <a:p>
            <a:pPr marR="0" lvl="0" algn="l" defTabSz="914367" rtl="0" eaLnBrk="1" fontAlgn="auto" latinLnBrk="0" hangingPunct="1">
              <a:lnSpc>
                <a:spcPct val="100000"/>
              </a:lnSpc>
              <a:spcBef>
                <a:spcPts val="0"/>
              </a:spcBef>
              <a:spcAft>
                <a:spcPts val="600"/>
              </a:spcAft>
              <a:buClrTx/>
              <a:buSzTx/>
              <a:tabLst/>
              <a:defRPr/>
            </a:pPr>
            <a:endParaRPr lang="en-US" sz="1050" kern="0" dirty="0">
              <a:solidFill>
                <a:srgbClr val="000000"/>
              </a:solidFill>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050" dirty="0"/>
              <a:t>The first step to deployment is to prepare the environment.</a:t>
            </a:r>
          </a:p>
          <a:p>
            <a:r>
              <a:rPr lang="en-US" sz="1050" dirty="0"/>
              <a:t>You will need an environment with </a:t>
            </a:r>
            <a:r>
              <a:rPr lang="en-US" sz="1050" dirty="0" err="1"/>
              <a:t>Dataverse</a:t>
            </a:r>
            <a:r>
              <a:rPr lang="en-US" sz="1050" dirty="0"/>
              <a:t> database. So if you see the screenshot here, when you create a new environment in Power Platform Admin Center, you will have to select ‘Create a database’ for this environment &lt;point to the screen&gt; Also note that FSI is only available in US, UK regions for now, so you will need to select one of them as regions to be able to proceed with the deployment.</a:t>
            </a:r>
          </a:p>
          <a:p>
            <a:r>
              <a:rPr lang="en-US" sz="1050" dirty="0"/>
              <a:t>Next you will install dependencies as required. You can navigate to Solution Center, select your chosen FSI capability and view the solution dependencies as shown here &lt;point to screenshot&gt;</a:t>
            </a:r>
          </a:p>
          <a:p>
            <a:endParaRPr lang="en-US" sz="1050" dirty="0"/>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050" dirty="0"/>
              <a:t>Once your environment is prepped up with a database and dependencies, you will then move to the next step to select the required FSI solutions to install. You can either choose one or many capabilities in one go, select add and kickoff the installation process</a:t>
            </a:r>
          </a:p>
          <a:p>
            <a:endParaRPr lang="en-US" sz="1050" dirty="0"/>
          </a:p>
          <a:p>
            <a:endParaRPr lang="en-US" sz="1050" dirty="0"/>
          </a:p>
          <a:p>
            <a:endParaRPr lang="en-US" sz="105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94E81-1EC8-4721-BA37-A62CACDF0B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0414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4.jpeg"/><Relationship Id="rId7" Type="http://schemas.openxmlformats.org/officeDocument/2006/relationships/image" Target="../media/image27.jpe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26.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hyperlink" Target="https://twitter.com/MSFTMedia" TargetMode="External"/><Relationship Id="rId3" Type="http://schemas.openxmlformats.org/officeDocument/2006/relationships/image" Target="../media/image9.png"/><Relationship Id="rId7" Type="http://schemas.openxmlformats.org/officeDocument/2006/relationships/hyperlink" Target="https://in.pinterest.com/microsoft/" TargetMode="External"/><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hyperlink" Target="https://www.linkedin.com/company/microsoft" TargetMode="External"/><Relationship Id="rId5" Type="http://schemas.openxmlformats.org/officeDocument/2006/relationships/hyperlink" Target="https://www.facebook.com/Microsoft/" TargetMode="External"/><Relationship Id="rId4" Type="http://schemas.openxmlformats.org/officeDocument/2006/relationships/hyperlink" Target="https://twitter.com/Microsoft" TargetMode="Externa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Microsoft/" TargetMode="External"/><Relationship Id="rId7" Type="http://schemas.openxmlformats.org/officeDocument/2006/relationships/image" Target="../media/image10.png"/><Relationship Id="rId2" Type="http://schemas.openxmlformats.org/officeDocument/2006/relationships/hyperlink" Target="https://twitter.com/Microsoft" TargetMode="External"/><Relationship Id="rId1" Type="http://schemas.openxmlformats.org/officeDocument/2006/relationships/slideMaster" Target="../slideMasters/slideMaster1.xml"/><Relationship Id="rId6" Type="http://schemas.openxmlformats.org/officeDocument/2006/relationships/hyperlink" Target="https://twitter.com/MSFTMedia" TargetMode="External"/><Relationship Id="rId5" Type="http://schemas.openxmlformats.org/officeDocument/2006/relationships/hyperlink" Target="https://in.pinterest.com/microsoft/" TargetMode="External"/><Relationship Id="rId4" Type="http://schemas.openxmlformats.org/officeDocument/2006/relationships/hyperlink" Target="https://www.linkedin.com/company/microsoft" TargetMode="Externa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accent2">
            <a:lumMod val="75000"/>
          </a:schemeClr>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C5B6613-8565-4160-AA3D-B85410120C9C}"/>
              </a:ext>
            </a:extLst>
          </p:cNvPr>
          <p:cNvGrpSpPr/>
          <p:nvPr userDrawn="1"/>
        </p:nvGrpSpPr>
        <p:grpSpPr>
          <a:xfrm>
            <a:off x="-1438311" y="1058290"/>
            <a:ext cx="5400711" cy="5400668"/>
            <a:chOff x="154596" y="2281412"/>
            <a:chExt cx="394433" cy="394430"/>
          </a:xfrm>
        </p:grpSpPr>
        <p:sp>
          <p:nvSpPr>
            <p:cNvPr id="14" name="Freeform 89">
              <a:extLst>
                <a:ext uri="{FF2B5EF4-FFF2-40B4-BE49-F238E27FC236}">
                  <a16:creationId xmlns:a16="http://schemas.microsoft.com/office/drawing/2014/main" id="{3B764FEC-AB83-4F27-AB8A-2BC47EDBCE1B}"/>
                </a:ext>
              </a:extLst>
            </p:cNvPr>
            <p:cNvSpPr>
              <a:spLocks/>
            </p:cNvSpPr>
            <p:nvPr/>
          </p:nvSpPr>
          <p:spPr bwMode="auto">
            <a:xfrm>
              <a:off x="471659" y="2489246"/>
              <a:ext cx="77370" cy="121363"/>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5" name="Freeform 90">
              <a:extLst>
                <a:ext uri="{FF2B5EF4-FFF2-40B4-BE49-F238E27FC236}">
                  <a16:creationId xmlns:a16="http://schemas.microsoft.com/office/drawing/2014/main" id="{9C69E9FD-CE78-4D2E-AD1E-C63107F3AE8A}"/>
                </a:ext>
              </a:extLst>
            </p:cNvPr>
            <p:cNvSpPr>
              <a:spLocks/>
            </p:cNvSpPr>
            <p:nvPr/>
          </p:nvSpPr>
          <p:spPr bwMode="auto">
            <a:xfrm>
              <a:off x="154596" y="2346645"/>
              <a:ext cx="80404" cy="121363"/>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6" name="Freeform 91">
              <a:extLst>
                <a:ext uri="{FF2B5EF4-FFF2-40B4-BE49-F238E27FC236}">
                  <a16:creationId xmlns:a16="http://schemas.microsoft.com/office/drawing/2014/main" id="{8AAA5BE6-12D1-44A7-AF43-F29B089941C5}"/>
                </a:ext>
              </a:extLst>
            </p:cNvPr>
            <p:cNvSpPr>
              <a:spLocks/>
            </p:cNvSpPr>
            <p:nvPr/>
          </p:nvSpPr>
          <p:spPr bwMode="auto">
            <a:xfrm>
              <a:off x="221346" y="2595439"/>
              <a:ext cx="121364" cy="8040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7" name="Freeform 92">
              <a:extLst>
                <a:ext uri="{FF2B5EF4-FFF2-40B4-BE49-F238E27FC236}">
                  <a16:creationId xmlns:a16="http://schemas.microsoft.com/office/drawing/2014/main" id="{AC0E16FC-EE90-4A58-AA2B-8EB1D13D55BF}"/>
                </a:ext>
              </a:extLst>
            </p:cNvPr>
            <p:cNvSpPr>
              <a:spLocks/>
            </p:cNvSpPr>
            <p:nvPr/>
          </p:nvSpPr>
          <p:spPr bwMode="auto">
            <a:xfrm>
              <a:off x="154596" y="2489246"/>
              <a:ext cx="80404" cy="121363"/>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8" name="Freeform 93">
              <a:extLst>
                <a:ext uri="{FF2B5EF4-FFF2-40B4-BE49-F238E27FC236}">
                  <a16:creationId xmlns:a16="http://schemas.microsoft.com/office/drawing/2014/main" id="{ED43D15B-D4A4-434F-B0CB-F31BAE5925C9}"/>
                </a:ext>
              </a:extLst>
            </p:cNvPr>
            <p:cNvSpPr>
              <a:spLocks/>
            </p:cNvSpPr>
            <p:nvPr/>
          </p:nvSpPr>
          <p:spPr bwMode="auto">
            <a:xfrm>
              <a:off x="471659" y="2346645"/>
              <a:ext cx="77370" cy="121363"/>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0" name="Freeform 94">
              <a:extLst>
                <a:ext uri="{FF2B5EF4-FFF2-40B4-BE49-F238E27FC236}">
                  <a16:creationId xmlns:a16="http://schemas.microsoft.com/office/drawing/2014/main" id="{36C84FD3-AAD8-468D-B7FD-A551B2DD4116}"/>
                </a:ext>
              </a:extLst>
            </p:cNvPr>
            <p:cNvSpPr>
              <a:spLocks/>
            </p:cNvSpPr>
            <p:nvPr/>
          </p:nvSpPr>
          <p:spPr bwMode="auto">
            <a:xfrm>
              <a:off x="362432" y="2595439"/>
              <a:ext cx="122881" cy="8040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1" name="Freeform 95">
              <a:extLst>
                <a:ext uri="{FF2B5EF4-FFF2-40B4-BE49-F238E27FC236}">
                  <a16:creationId xmlns:a16="http://schemas.microsoft.com/office/drawing/2014/main" id="{40449E8D-1665-4DAC-BB3C-5CA02705542B}"/>
                </a:ext>
              </a:extLst>
            </p:cNvPr>
            <p:cNvSpPr>
              <a:spLocks/>
            </p:cNvSpPr>
            <p:nvPr/>
          </p:nvSpPr>
          <p:spPr bwMode="auto">
            <a:xfrm>
              <a:off x="363949" y="2281412"/>
              <a:ext cx="121364" cy="78886"/>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2" name="Freeform 96">
              <a:extLst>
                <a:ext uri="{FF2B5EF4-FFF2-40B4-BE49-F238E27FC236}">
                  <a16:creationId xmlns:a16="http://schemas.microsoft.com/office/drawing/2014/main" id="{FC559D39-21CA-43DE-B75E-2A34459C160E}"/>
                </a:ext>
              </a:extLst>
            </p:cNvPr>
            <p:cNvSpPr>
              <a:spLocks/>
            </p:cNvSpPr>
            <p:nvPr/>
          </p:nvSpPr>
          <p:spPr bwMode="auto">
            <a:xfrm>
              <a:off x="221346" y="2281412"/>
              <a:ext cx="121364" cy="78886"/>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3" name="Freeform 97">
              <a:extLst>
                <a:ext uri="{FF2B5EF4-FFF2-40B4-BE49-F238E27FC236}">
                  <a16:creationId xmlns:a16="http://schemas.microsoft.com/office/drawing/2014/main" id="{632445B9-5495-422C-B05B-927444BF880E}"/>
                </a:ext>
              </a:extLst>
            </p:cNvPr>
            <p:cNvSpPr>
              <a:spLocks/>
            </p:cNvSpPr>
            <p:nvPr/>
          </p:nvSpPr>
          <p:spPr bwMode="auto">
            <a:xfrm>
              <a:off x="248653" y="2407326"/>
              <a:ext cx="210870" cy="122880"/>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pic>
        <p:nvPicPr>
          <p:cNvPr id="7" name="MS logo white - EMF" descr="Microsoft logo">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25" name="Text Placeholder 2">
            <a:extLst>
              <a:ext uri="{FF2B5EF4-FFF2-40B4-BE49-F238E27FC236}">
                <a16:creationId xmlns:a16="http://schemas.microsoft.com/office/drawing/2014/main" id="{1FB8463D-9031-474C-B9AA-211B481339ED}"/>
              </a:ext>
            </a:extLst>
          </p:cNvPr>
          <p:cNvSpPr txBox="1">
            <a:spLocks/>
          </p:cNvSpPr>
          <p:nvPr userDrawn="1"/>
        </p:nvSpPr>
        <p:spPr>
          <a:xfrm>
            <a:off x="1128662" y="1599399"/>
            <a:ext cx="3281413" cy="707886"/>
          </a:xfrm>
          <a:prstGeom prst="rect">
            <a:avLst/>
          </a:prstGeom>
        </p:spPr>
        <p:txBody>
          <a:bodyP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chemeClr val="tx1"/>
                </a:solidFill>
                <a:effectLst/>
                <a:uLnTx/>
                <a:uFillTx/>
                <a:ea typeface="+mn-ea"/>
                <a:cs typeface="Segoe UI" panose="020B0502040204020203" pitchFamily="34" charset="0"/>
              </a:rPr>
              <a:t>Microsoft Cloud for Financial Services</a:t>
            </a:r>
          </a:p>
        </p:txBody>
      </p:sp>
      <p:grpSp>
        <p:nvGrpSpPr>
          <p:cNvPr id="26" name="Group 25">
            <a:extLst>
              <a:ext uri="{FF2B5EF4-FFF2-40B4-BE49-F238E27FC236}">
                <a16:creationId xmlns:a16="http://schemas.microsoft.com/office/drawing/2014/main" id="{F7B75396-29D2-44A3-A5AD-AAC2FCE8398C}"/>
              </a:ext>
            </a:extLst>
          </p:cNvPr>
          <p:cNvGrpSpPr/>
          <p:nvPr userDrawn="1"/>
        </p:nvGrpSpPr>
        <p:grpSpPr>
          <a:xfrm>
            <a:off x="582042" y="1730204"/>
            <a:ext cx="446276" cy="446276"/>
            <a:chOff x="997658" y="5928725"/>
            <a:chExt cx="601980" cy="601980"/>
          </a:xfrm>
        </p:grpSpPr>
        <p:sp>
          <p:nvSpPr>
            <p:cNvPr id="27" name="Oval 26">
              <a:extLst>
                <a:ext uri="{FF2B5EF4-FFF2-40B4-BE49-F238E27FC236}">
                  <a16:creationId xmlns:a16="http://schemas.microsoft.com/office/drawing/2014/main" id="{3373F39C-B8CA-46C8-9004-C3C9413A61C8}"/>
                </a:ext>
              </a:extLst>
            </p:cNvPr>
            <p:cNvSpPr/>
            <p:nvPr/>
          </p:nvSpPr>
          <p:spPr bwMode="auto">
            <a:xfrm>
              <a:off x="997658" y="5928725"/>
              <a:ext cx="601980" cy="601980"/>
            </a:xfrm>
            <a:prstGeom prst="ellipse">
              <a:avLst/>
            </a:prstGeom>
            <a:noFill/>
            <a:ln w="12700" cap="flat" cmpd="sng" algn="ctr">
              <a:solidFill>
                <a:srgbClr val="FFFFFF"/>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28" name="data 3" descr="data, cloud, scale">
              <a:extLst>
                <a:ext uri="{FF2B5EF4-FFF2-40B4-BE49-F238E27FC236}">
                  <a16:creationId xmlns:a16="http://schemas.microsoft.com/office/drawing/2014/main" id="{5BF65215-AD74-4538-ADE2-9F74F03F9371}"/>
                </a:ext>
              </a:extLst>
            </p:cNvPr>
            <p:cNvGrpSpPr>
              <a:grpSpLocks noChangeAspect="1"/>
            </p:cNvGrpSpPr>
            <p:nvPr/>
          </p:nvGrpSpPr>
          <p:grpSpPr bwMode="auto">
            <a:xfrm>
              <a:off x="1100674" y="6032501"/>
              <a:ext cx="395950" cy="394430"/>
              <a:chOff x="5781" y="773"/>
              <a:chExt cx="261" cy="260"/>
            </a:xfrm>
          </p:grpSpPr>
          <p:sp>
            <p:nvSpPr>
              <p:cNvPr id="29" name="AutoShape 87">
                <a:extLst>
                  <a:ext uri="{FF2B5EF4-FFF2-40B4-BE49-F238E27FC236}">
                    <a16:creationId xmlns:a16="http://schemas.microsoft.com/office/drawing/2014/main" id="{9E4F05EB-97B5-4824-B2E9-C33BA2DC21CD}"/>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89">
                <a:extLst>
                  <a:ext uri="{FF2B5EF4-FFF2-40B4-BE49-F238E27FC236}">
                    <a16:creationId xmlns:a16="http://schemas.microsoft.com/office/drawing/2014/main" id="{AE05FEED-E695-44A4-8529-9457F9ACC4CA}"/>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90">
                <a:extLst>
                  <a:ext uri="{FF2B5EF4-FFF2-40B4-BE49-F238E27FC236}">
                    <a16:creationId xmlns:a16="http://schemas.microsoft.com/office/drawing/2014/main" id="{59A0863B-18A4-489E-B631-FA0018CEE5E6}"/>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91">
                <a:extLst>
                  <a:ext uri="{FF2B5EF4-FFF2-40B4-BE49-F238E27FC236}">
                    <a16:creationId xmlns:a16="http://schemas.microsoft.com/office/drawing/2014/main" id="{AB8C658C-5081-4E57-A132-7688F37D03B4}"/>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92">
                <a:extLst>
                  <a:ext uri="{FF2B5EF4-FFF2-40B4-BE49-F238E27FC236}">
                    <a16:creationId xmlns:a16="http://schemas.microsoft.com/office/drawing/2014/main" id="{679DC584-0761-41C6-9201-92F88BDF7B60}"/>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93">
                <a:extLst>
                  <a:ext uri="{FF2B5EF4-FFF2-40B4-BE49-F238E27FC236}">
                    <a16:creationId xmlns:a16="http://schemas.microsoft.com/office/drawing/2014/main" id="{826733BB-A1C7-4B97-BB36-BA204ADC3D3C}"/>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94">
                <a:extLst>
                  <a:ext uri="{FF2B5EF4-FFF2-40B4-BE49-F238E27FC236}">
                    <a16:creationId xmlns:a16="http://schemas.microsoft.com/office/drawing/2014/main" id="{90133D18-FF79-4066-A933-4D81BF7C7E5D}"/>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95">
                <a:extLst>
                  <a:ext uri="{FF2B5EF4-FFF2-40B4-BE49-F238E27FC236}">
                    <a16:creationId xmlns:a16="http://schemas.microsoft.com/office/drawing/2014/main" id="{A732793B-D4A7-4B5A-9DC4-65B861C6626F}"/>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96">
                <a:extLst>
                  <a:ext uri="{FF2B5EF4-FFF2-40B4-BE49-F238E27FC236}">
                    <a16:creationId xmlns:a16="http://schemas.microsoft.com/office/drawing/2014/main" id="{9C80C1B1-07FF-479E-BE3C-A80169963E4A}"/>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97">
                <a:extLst>
                  <a:ext uri="{FF2B5EF4-FFF2-40B4-BE49-F238E27FC236}">
                    <a16:creationId xmlns:a16="http://schemas.microsoft.com/office/drawing/2014/main" id="{6BC9CDB4-065B-4E2C-807C-B95C9D96E878}"/>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cxnSp>
        <p:nvCxnSpPr>
          <p:cNvPr id="45" name="Straight Connector 44">
            <a:extLst>
              <a:ext uri="{FF2B5EF4-FFF2-40B4-BE49-F238E27FC236}">
                <a16:creationId xmlns:a16="http://schemas.microsoft.com/office/drawing/2014/main" id="{54973DE5-69C7-428E-8DFE-2043D698CC33}"/>
              </a:ext>
            </a:extLst>
          </p:cNvPr>
          <p:cNvCxnSpPr>
            <a:cxnSpLocks/>
          </p:cNvCxnSpPr>
          <p:nvPr userDrawn="1"/>
        </p:nvCxnSpPr>
        <p:spPr>
          <a:xfrm>
            <a:off x="588963" y="2414678"/>
            <a:ext cx="4167187" cy="0"/>
          </a:xfrm>
          <a:prstGeom prst="line">
            <a:avLst/>
          </a:prstGeom>
          <a:noFill/>
          <a:ln w="12700" cap="flat" cmpd="sng" algn="ctr">
            <a:solidFill>
              <a:srgbClr val="50E6FF"/>
            </a:solidFill>
            <a:prstDash val="solid"/>
            <a:headEnd type="none" w="med" len="med"/>
            <a:tailEnd type="none" w="med" len="med"/>
          </a:ln>
          <a:effectLst/>
        </p:spPr>
      </p:cxnSp>
      <p:cxnSp>
        <p:nvCxnSpPr>
          <p:cNvPr id="46" name="Straight Connector 45">
            <a:extLst>
              <a:ext uri="{FF2B5EF4-FFF2-40B4-BE49-F238E27FC236}">
                <a16:creationId xmlns:a16="http://schemas.microsoft.com/office/drawing/2014/main" id="{F6A413B6-15E6-46F9-8DDF-1FC7F3FF6394}"/>
              </a:ext>
            </a:extLst>
          </p:cNvPr>
          <p:cNvCxnSpPr>
            <a:cxnSpLocks/>
          </p:cNvCxnSpPr>
          <p:nvPr userDrawn="1"/>
        </p:nvCxnSpPr>
        <p:spPr>
          <a:xfrm flipV="1">
            <a:off x="612914" y="4028820"/>
            <a:ext cx="1177379" cy="0"/>
          </a:xfrm>
          <a:prstGeom prst="line">
            <a:avLst/>
          </a:prstGeom>
          <a:noFill/>
          <a:ln w="12700" cap="flat" cmpd="sng" algn="ctr">
            <a:solidFill>
              <a:srgbClr val="50E6FF"/>
            </a:solidFill>
            <a:prstDash val="solid"/>
            <a:headEnd type="oval" w="med" len="med"/>
            <a:tailEnd type="none" w="lg" len="med"/>
          </a:ln>
          <a:effectLst/>
        </p:spPr>
      </p:cxnSp>
      <p:cxnSp>
        <p:nvCxnSpPr>
          <p:cNvPr id="47" name="Straight Connector 46">
            <a:extLst>
              <a:ext uri="{FF2B5EF4-FFF2-40B4-BE49-F238E27FC236}">
                <a16:creationId xmlns:a16="http://schemas.microsoft.com/office/drawing/2014/main" id="{23FD5CB9-75A6-433A-8AAB-DBD282FF2649}"/>
              </a:ext>
            </a:extLst>
          </p:cNvPr>
          <p:cNvCxnSpPr>
            <a:cxnSpLocks/>
          </p:cNvCxnSpPr>
          <p:nvPr userDrawn="1"/>
        </p:nvCxnSpPr>
        <p:spPr>
          <a:xfrm flipH="1" flipV="1">
            <a:off x="3554819" y="4028820"/>
            <a:ext cx="1040906" cy="0"/>
          </a:xfrm>
          <a:prstGeom prst="line">
            <a:avLst/>
          </a:prstGeom>
          <a:noFill/>
          <a:ln w="12700" cap="flat" cmpd="sng" algn="ctr">
            <a:solidFill>
              <a:srgbClr val="50E6FF"/>
            </a:solidFill>
            <a:prstDash val="solid"/>
            <a:headEnd type="oval" w="med" len="med"/>
            <a:tailEnd type="none" w="lg" len="med"/>
          </a:ln>
          <a:effectLst/>
        </p:spPr>
      </p:cxnSp>
      <p:sp>
        <p:nvSpPr>
          <p:cNvPr id="5" name="Text Placeholder 4">
            <a:extLst>
              <a:ext uri="{FF2B5EF4-FFF2-40B4-BE49-F238E27FC236}">
                <a16:creationId xmlns:a16="http://schemas.microsoft.com/office/drawing/2014/main" id="{6401D9F9-22AE-4F57-A57A-A11992D91972}"/>
              </a:ext>
            </a:extLst>
          </p:cNvPr>
          <p:cNvSpPr>
            <a:spLocks noGrp="1"/>
          </p:cNvSpPr>
          <p:nvPr>
            <p:ph type="body" sz="quarter" idx="10" hasCustomPrompt="1"/>
          </p:nvPr>
        </p:nvSpPr>
        <p:spPr>
          <a:xfrm>
            <a:off x="1790293" y="3888534"/>
            <a:ext cx="1765300" cy="276999"/>
          </a:xfrm>
          <a:solidFill>
            <a:schemeClr val="accent2">
              <a:lumMod val="75000"/>
            </a:schemeClr>
          </a:solidFill>
        </p:spPr>
        <p:txBody>
          <a:bodyPr wrap="square" anchor="ctr">
            <a:spAutoFit/>
          </a:bodyPr>
          <a:lstStyle>
            <a:lvl1pPr algn="ctr">
              <a:buNone/>
              <a:defRPr kumimoji="0" lang="en-US" sz="1800" b="0" i="0" u="none" strike="noStrike" cap="none" normalizeH="0" smtClean="0">
                <a:ln>
                  <a:noFill/>
                </a:ln>
                <a:solidFill>
                  <a:schemeClr val="tx1"/>
                </a:solidFill>
                <a:effectLst/>
                <a:uLnTx/>
                <a:uFillTx/>
                <a:latin typeface="+mn-lt"/>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US" sz="1800">
                <a:solidFill>
                  <a:schemeClr val="tx1"/>
                </a:solidFill>
              </a:defRPr>
            </a:lvl5pPr>
          </a:lstStyle>
          <a:p>
            <a:pPr marL="228600" lvl="0" indent="-228600" algn="ctr"/>
            <a:r>
              <a:rPr lang="en-US"/>
              <a:t>Private Preview</a:t>
            </a:r>
          </a:p>
        </p:txBody>
      </p:sp>
      <p:sp>
        <p:nvSpPr>
          <p:cNvPr id="2" name="Freeform: Shape 1">
            <a:extLst>
              <a:ext uri="{FF2B5EF4-FFF2-40B4-BE49-F238E27FC236}">
                <a16:creationId xmlns:a16="http://schemas.microsoft.com/office/drawing/2014/main" id="{3400D973-3723-4346-81A6-71D3B4EE0799}"/>
              </a:ext>
            </a:extLst>
          </p:cNvPr>
          <p:cNvSpPr/>
          <p:nvPr userDrawn="1"/>
        </p:nvSpPr>
        <p:spPr bwMode="auto">
          <a:xfrm>
            <a:off x="5379719" y="45720"/>
            <a:ext cx="6766560" cy="676656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ln w="0"/>
              <a:solidFill>
                <a:schemeClr val="tx1"/>
              </a:solidFill>
              <a:effectLst>
                <a:outerShdw blurRad="38100" dist="19050" dir="2700000" algn="tl" rotWithShape="0">
                  <a:schemeClr val="dk1">
                    <a:alpha val="40000"/>
                  </a:schemeClr>
                </a:outerShdw>
              </a:effectLst>
              <a:ea typeface="Segoe UI" pitchFamily="34" charset="0"/>
              <a:cs typeface="Segoe UI" pitchFamily="34" charset="0"/>
            </a:endParaRPr>
          </a:p>
        </p:txBody>
      </p:sp>
      <p:pic>
        <p:nvPicPr>
          <p:cNvPr id="3" name="Picture 2" descr="A picture containing sitting, light, table, street&#10;&#10;Description automatically generated">
            <a:extLst>
              <a:ext uri="{FF2B5EF4-FFF2-40B4-BE49-F238E27FC236}">
                <a16:creationId xmlns:a16="http://schemas.microsoft.com/office/drawing/2014/main" id="{96754DEA-124B-4298-8DA3-DB2D2BFAC4C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909075" y="90831"/>
            <a:ext cx="2192365" cy="2180937"/>
          </a:xfrm>
          <a:custGeom>
            <a:avLst/>
            <a:gdLst>
              <a:gd name="connsiteX0" fmla="*/ 0 w 2192365"/>
              <a:gd name="connsiteY0" fmla="*/ 0 h 2180937"/>
              <a:gd name="connsiteX1" fmla="*/ 2192365 w 2192365"/>
              <a:gd name="connsiteY1" fmla="*/ 0 h 2180937"/>
              <a:gd name="connsiteX2" fmla="*/ 2192365 w 2192365"/>
              <a:gd name="connsiteY2" fmla="*/ 2180937 h 2180937"/>
              <a:gd name="connsiteX3" fmla="*/ 0 w 2192365"/>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2192365" h="2180937">
                <a:moveTo>
                  <a:pt x="0" y="0"/>
                </a:moveTo>
                <a:lnTo>
                  <a:pt x="2192365" y="0"/>
                </a:lnTo>
                <a:lnTo>
                  <a:pt x="2192365" y="2180937"/>
                </a:lnTo>
                <a:lnTo>
                  <a:pt x="0" y="2180937"/>
                </a:lnTo>
                <a:close/>
              </a:path>
            </a:pathLst>
          </a:custGeom>
        </p:spPr>
      </p:pic>
      <p:pic>
        <p:nvPicPr>
          <p:cNvPr id="6" name="Picture 5" descr="A large brick building&#10;&#10;Description automatically generated">
            <a:extLst>
              <a:ext uri="{FF2B5EF4-FFF2-40B4-BE49-F238E27FC236}">
                <a16:creationId xmlns:a16="http://schemas.microsoft.com/office/drawing/2014/main" id="{F517718D-55F9-41FA-8A18-DCF989E8FA8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424830" y="90832"/>
            <a:ext cx="4434485" cy="2180937"/>
          </a:xfrm>
          <a:custGeom>
            <a:avLst/>
            <a:gdLst>
              <a:gd name="connsiteX0" fmla="*/ 0 w 4434485"/>
              <a:gd name="connsiteY0" fmla="*/ 0 h 2180937"/>
              <a:gd name="connsiteX1" fmla="*/ 4434485 w 4434485"/>
              <a:gd name="connsiteY1" fmla="*/ 0 h 2180937"/>
              <a:gd name="connsiteX2" fmla="*/ 4434485 w 4434485"/>
              <a:gd name="connsiteY2" fmla="*/ 2180937 h 2180937"/>
              <a:gd name="connsiteX3" fmla="*/ 0 w 4434485"/>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5" h="2180937">
                <a:moveTo>
                  <a:pt x="0" y="0"/>
                </a:moveTo>
                <a:lnTo>
                  <a:pt x="4434485" y="0"/>
                </a:lnTo>
                <a:lnTo>
                  <a:pt x="4434485" y="2180937"/>
                </a:lnTo>
                <a:lnTo>
                  <a:pt x="0" y="2180937"/>
                </a:lnTo>
                <a:close/>
              </a:path>
            </a:pathLst>
          </a:custGeom>
        </p:spPr>
      </p:pic>
      <p:pic>
        <p:nvPicPr>
          <p:cNvPr id="8" name="Picture 7" descr="A picture containing sitting, monitor, surface, table&#10;&#10;Description automatically generated">
            <a:extLst>
              <a:ext uri="{FF2B5EF4-FFF2-40B4-BE49-F238E27FC236}">
                <a16:creationId xmlns:a16="http://schemas.microsoft.com/office/drawing/2014/main" id="{72324CC7-85D8-4637-BAC8-8B61E4A8C1A9}"/>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9909074" y="4586234"/>
            <a:ext cx="2192365" cy="2181207"/>
          </a:xfrm>
          <a:custGeom>
            <a:avLst/>
            <a:gdLst>
              <a:gd name="connsiteX0" fmla="*/ 0 w 2192365"/>
              <a:gd name="connsiteY0" fmla="*/ 0 h 2181207"/>
              <a:gd name="connsiteX1" fmla="*/ 2192365 w 2192365"/>
              <a:gd name="connsiteY1" fmla="*/ 0 h 2181207"/>
              <a:gd name="connsiteX2" fmla="*/ 2192365 w 2192365"/>
              <a:gd name="connsiteY2" fmla="*/ 2181207 h 2181207"/>
              <a:gd name="connsiteX3" fmla="*/ 0 w 2192365"/>
              <a:gd name="connsiteY3" fmla="*/ 2181207 h 2181207"/>
            </a:gdLst>
            <a:ahLst/>
            <a:cxnLst>
              <a:cxn ang="0">
                <a:pos x="connsiteX0" y="connsiteY0"/>
              </a:cxn>
              <a:cxn ang="0">
                <a:pos x="connsiteX1" y="connsiteY1"/>
              </a:cxn>
              <a:cxn ang="0">
                <a:pos x="connsiteX2" y="connsiteY2"/>
              </a:cxn>
              <a:cxn ang="0">
                <a:pos x="connsiteX3" y="connsiteY3"/>
              </a:cxn>
            </a:cxnLst>
            <a:rect l="l" t="t" r="r" b="b"/>
            <a:pathLst>
              <a:path w="2192365" h="2181207">
                <a:moveTo>
                  <a:pt x="0" y="0"/>
                </a:moveTo>
                <a:lnTo>
                  <a:pt x="2192365" y="0"/>
                </a:lnTo>
                <a:lnTo>
                  <a:pt x="2192365" y="2181207"/>
                </a:lnTo>
                <a:lnTo>
                  <a:pt x="0" y="2181207"/>
                </a:lnTo>
                <a:close/>
              </a:path>
            </a:pathLst>
          </a:custGeom>
        </p:spPr>
      </p:pic>
      <p:pic>
        <p:nvPicPr>
          <p:cNvPr id="9" name="Picture 8">
            <a:extLst>
              <a:ext uri="{FF2B5EF4-FFF2-40B4-BE49-F238E27FC236}">
                <a16:creationId xmlns:a16="http://schemas.microsoft.com/office/drawing/2014/main" id="{9026C8E2-BF3E-4B38-B211-EBAB31FBAF0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5424829" y="4586231"/>
            <a:ext cx="4434486" cy="2181210"/>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p:spPr>
      </p:pic>
      <p:pic>
        <p:nvPicPr>
          <p:cNvPr id="10" name="Picture 9" descr="A circuit board&#10;&#10;Description automatically generated">
            <a:extLst>
              <a:ext uri="{FF2B5EF4-FFF2-40B4-BE49-F238E27FC236}">
                <a16:creationId xmlns:a16="http://schemas.microsoft.com/office/drawing/2014/main" id="{2D79C2E6-FA75-471D-9598-DC3E0069513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5424831" y="2315074"/>
            <a:ext cx="6676608" cy="2226046"/>
          </a:xfrm>
          <a:custGeom>
            <a:avLst/>
            <a:gdLst>
              <a:gd name="connsiteX0" fmla="*/ 0 w 6676608"/>
              <a:gd name="connsiteY0" fmla="*/ 0 h 2226046"/>
              <a:gd name="connsiteX1" fmla="*/ 6676608 w 6676608"/>
              <a:gd name="connsiteY1" fmla="*/ 0 h 2226046"/>
              <a:gd name="connsiteX2" fmla="*/ 6676608 w 6676608"/>
              <a:gd name="connsiteY2" fmla="*/ 2226046 h 2226046"/>
              <a:gd name="connsiteX3" fmla="*/ 0 w 6676608"/>
              <a:gd name="connsiteY3" fmla="*/ 2226046 h 2226046"/>
            </a:gdLst>
            <a:ahLst/>
            <a:cxnLst>
              <a:cxn ang="0">
                <a:pos x="connsiteX0" y="connsiteY0"/>
              </a:cxn>
              <a:cxn ang="0">
                <a:pos x="connsiteX1" y="connsiteY1"/>
              </a:cxn>
              <a:cxn ang="0">
                <a:pos x="connsiteX2" y="connsiteY2"/>
              </a:cxn>
              <a:cxn ang="0">
                <a:pos x="connsiteX3" y="connsiteY3"/>
              </a:cxn>
            </a:cxnLst>
            <a:rect l="l" t="t" r="r" b="b"/>
            <a:pathLst>
              <a:path w="6676608" h="2226046">
                <a:moveTo>
                  <a:pt x="0" y="0"/>
                </a:moveTo>
                <a:lnTo>
                  <a:pt x="6676608" y="0"/>
                </a:lnTo>
                <a:lnTo>
                  <a:pt x="6676608" y="2226046"/>
                </a:lnTo>
                <a:lnTo>
                  <a:pt x="0" y="2226046"/>
                </a:lnTo>
                <a:close/>
              </a:path>
            </a:pathLst>
          </a:custGeom>
        </p:spPr>
      </p:pic>
      <p:sp>
        <p:nvSpPr>
          <p:cNvPr id="40" name="Title 1">
            <a:extLst>
              <a:ext uri="{FF2B5EF4-FFF2-40B4-BE49-F238E27FC236}">
                <a16:creationId xmlns:a16="http://schemas.microsoft.com/office/drawing/2014/main" id="{B316575D-4909-4F24-8B73-A0FA42B0B4AA}"/>
              </a:ext>
            </a:extLst>
          </p:cNvPr>
          <p:cNvSpPr>
            <a:spLocks noGrp="1"/>
          </p:cNvSpPr>
          <p:nvPr>
            <p:ph type="title"/>
          </p:nvPr>
        </p:nvSpPr>
        <p:spPr>
          <a:xfrm>
            <a:off x="588263" y="2671763"/>
            <a:ext cx="4167187" cy="430887"/>
          </a:xfrm>
        </p:spPr>
        <p:txBody>
          <a:bodyPr/>
          <a:lstStyle>
            <a:lvl1pPr>
              <a:defRPr sz="2800">
                <a:solidFill>
                  <a:srgbClr val="50E6FF"/>
                </a:solidFill>
              </a:defRPr>
            </a:lvl1pPr>
          </a:lstStyle>
          <a:p>
            <a:r>
              <a:rPr lang="en-US"/>
              <a:t>Click to edit Master title style</a:t>
            </a:r>
          </a:p>
        </p:txBody>
      </p:sp>
      <p:sp>
        <p:nvSpPr>
          <p:cNvPr id="41" name="Footer Placeholder 1">
            <a:extLst>
              <a:ext uri="{FF2B5EF4-FFF2-40B4-BE49-F238E27FC236}">
                <a16:creationId xmlns:a16="http://schemas.microsoft.com/office/drawing/2014/main" id="{8C983986-48A6-4101-B797-253516154C4E}"/>
              </a:ext>
            </a:extLst>
          </p:cNvPr>
          <p:cNvSpPr txBox="1">
            <a:spLocks/>
          </p:cNvSpPr>
          <p:nvPr userDrawn="1"/>
        </p:nvSpPr>
        <p:spPr>
          <a:xfrm>
            <a:off x="494728" y="6607631"/>
            <a:ext cx="1884935" cy="215444"/>
          </a:xfrm>
          <a:prstGeom prst="rect">
            <a:avLst/>
          </a:prstGeom>
        </p:spPr>
        <p:txBody>
          <a:bodyPr wrap="square">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Tree>
    <p:extLst>
      <p:ext uri="{BB962C8B-B14F-4D97-AF65-F5344CB8AC3E}">
        <p14:creationId xmlns:p14="http://schemas.microsoft.com/office/powerpoint/2010/main" val="3011642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1169219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6737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6" name="Footer Placeholder 1">
            <a:extLst>
              <a:ext uri="{FF2B5EF4-FFF2-40B4-BE49-F238E27FC236}">
                <a16:creationId xmlns:a16="http://schemas.microsoft.com/office/drawing/2014/main" id="{A2CEAF23-CB10-42B3-8344-EC7E56C56FE4}"/>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Microsoft Confidential—Internal Only</a:t>
            </a:r>
          </a:p>
        </p:txBody>
      </p:sp>
    </p:spTree>
    <p:extLst>
      <p:ext uri="{BB962C8B-B14F-4D97-AF65-F5344CB8AC3E}">
        <p14:creationId xmlns:p14="http://schemas.microsoft.com/office/powerpoint/2010/main" val="3109117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tx1"/>
                </a:solidFill>
                <a:latin typeface="+mj-lt"/>
                <a:cs typeface="Segoe UI" panose="020B0502040204020203"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093063C3-C51F-47DD-AA25-5918F615DFA0}"/>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8" name="Footer Placeholder 1">
            <a:extLst>
              <a:ext uri="{FF2B5EF4-FFF2-40B4-BE49-F238E27FC236}">
                <a16:creationId xmlns:a16="http://schemas.microsoft.com/office/drawing/2014/main" id="{BFD745C9-149F-4693-8628-39D50C749CA4}"/>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Microsoft Confidential—Internal Only</a:t>
            </a:r>
          </a:p>
        </p:txBody>
      </p:sp>
    </p:spTree>
    <p:extLst>
      <p:ext uri="{BB962C8B-B14F-4D97-AF65-F5344CB8AC3E}">
        <p14:creationId xmlns:p14="http://schemas.microsoft.com/office/powerpoint/2010/main" val="18876173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9EB0B08A-3B51-432E-A0C6-6A1AF4FA80A3}"/>
              </a:ext>
            </a:extLst>
          </p:cNvPr>
          <p:cNvSpPr>
            <a:spLocks noGrp="1"/>
          </p:cNvSpPr>
          <p:nvPr>
            <p:ph type="body" sz="quarter" idx="12"/>
          </p:nvPr>
        </p:nvSpPr>
        <p:spPr>
          <a:xfrm>
            <a:off x="598135" y="1841313"/>
            <a:ext cx="11018519" cy="338554"/>
          </a:xfrm>
        </p:spPr>
        <p:txBody>
          <a:bodyPr/>
          <a:lstStyle>
            <a:lvl1pPr>
              <a:buNone/>
              <a:defRPr sz="2200">
                <a:solidFill>
                  <a:schemeClr val="tx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Click to edit Master text styles</a:t>
            </a: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553998"/>
          </a:xfrm>
        </p:spPr>
        <p:txBody>
          <a:bodyPr/>
          <a:lstStyle>
            <a:lvl1pPr algn="ctr">
              <a:defRPr sz="3600">
                <a:solidFill>
                  <a:schemeClr val="tx1"/>
                </a:solidFill>
              </a:defRPr>
            </a:lvl1pPr>
          </a:lstStyle>
          <a:p>
            <a:r>
              <a:rPr lang="en-US"/>
              <a:t>Click to edit Master title style</a:t>
            </a:r>
          </a:p>
        </p:txBody>
      </p:sp>
      <p:sp>
        <p:nvSpPr>
          <p:cNvPr id="15" name="Slide Number Placeholder 3">
            <a:extLst>
              <a:ext uri="{FF2B5EF4-FFF2-40B4-BE49-F238E27FC236}">
                <a16:creationId xmlns:a16="http://schemas.microsoft.com/office/drawing/2014/main" id="{97858873-1F3B-4748-9A44-E027E2E3B9B7}"/>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66F11E3B-66DB-427F-B887-B1D3794EEB6B}"/>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Microsoft Confidential—Internal Only</a:t>
            </a:r>
          </a:p>
        </p:txBody>
      </p:sp>
      <p:pic>
        <p:nvPicPr>
          <p:cNvPr id="19" name="Picture 18">
            <a:extLst>
              <a:ext uri="{FF2B5EF4-FFF2-40B4-BE49-F238E27FC236}">
                <a16:creationId xmlns:a16="http://schemas.microsoft.com/office/drawing/2014/main" id="{59A31E55-8F3A-4E54-AD31-EFE1F2BCB4B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a:stretch/>
        </p:blipFill>
        <p:spPr>
          <a:xfrm>
            <a:off x="6128850"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pic>
        <p:nvPicPr>
          <p:cNvPr id="22" name="Picture 21">
            <a:extLst>
              <a:ext uri="{FF2B5EF4-FFF2-40B4-BE49-F238E27FC236}">
                <a16:creationId xmlns:a16="http://schemas.microsoft.com/office/drawing/2014/main" id="{B020A17E-64CA-4CD6-99BC-F21B7C344ED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 t="-1"/>
          <a:stretch/>
        </p:blipFill>
        <p:spPr>
          <a:xfrm>
            <a:off x="8901175"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pic>
        <p:nvPicPr>
          <p:cNvPr id="27" name="Picture 26">
            <a:extLst>
              <a:ext uri="{FF2B5EF4-FFF2-40B4-BE49-F238E27FC236}">
                <a16:creationId xmlns:a16="http://schemas.microsoft.com/office/drawing/2014/main" id="{69362694-3162-44D4-9C1E-3EBF39E3B3E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84200"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pic>
        <p:nvPicPr>
          <p:cNvPr id="32" name="Picture 31">
            <a:extLst>
              <a:ext uri="{FF2B5EF4-FFF2-40B4-BE49-F238E27FC236}">
                <a16:creationId xmlns:a16="http://schemas.microsoft.com/office/drawing/2014/main" id="{85EA8C45-F47D-4E87-BCF6-C07B5BB16D3C}"/>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3356525"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spTree>
    <p:extLst>
      <p:ext uri="{BB962C8B-B14F-4D97-AF65-F5344CB8AC3E}">
        <p14:creationId xmlns:p14="http://schemas.microsoft.com/office/powerpoint/2010/main" val="217408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42E77C0-9DA9-4B33-9010-0E0D7C1FDC40}"/>
              </a:ext>
            </a:extLst>
          </p:cNvPr>
          <p:cNvGrpSpPr/>
          <p:nvPr userDrawn="1"/>
        </p:nvGrpSpPr>
        <p:grpSpPr>
          <a:xfrm>
            <a:off x="3206641" y="967343"/>
            <a:ext cx="6860723" cy="6860669"/>
            <a:chOff x="3206641" y="967343"/>
            <a:chExt cx="6860723" cy="6860669"/>
          </a:xfrm>
        </p:grpSpPr>
        <p:sp>
          <p:nvSpPr>
            <p:cNvPr id="7" name="Freeform 89">
              <a:extLst>
                <a:ext uri="{FF2B5EF4-FFF2-40B4-BE49-F238E27FC236}">
                  <a16:creationId xmlns:a16="http://schemas.microsoft.com/office/drawing/2014/main" id="{0B669AC6-49AA-46E3-80D9-19E9CE6C544E}"/>
                </a:ext>
              </a:extLst>
            </p:cNvPr>
            <p:cNvSpPr>
              <a:spLocks/>
            </p:cNvSpPr>
            <p:nvPr/>
          </p:nvSpPr>
          <p:spPr bwMode="auto">
            <a:xfrm>
              <a:off x="8721599" y="4582383"/>
              <a:ext cx="1345765" cy="211097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8" name="Freeform 90">
              <a:extLst>
                <a:ext uri="{FF2B5EF4-FFF2-40B4-BE49-F238E27FC236}">
                  <a16:creationId xmlns:a16="http://schemas.microsoft.com/office/drawing/2014/main" id="{F860FD47-F0DB-4A6F-A3D4-642C538344FB}"/>
                </a:ext>
              </a:extLst>
            </p:cNvPr>
            <p:cNvSpPr>
              <a:spLocks/>
            </p:cNvSpPr>
            <p:nvPr/>
          </p:nvSpPr>
          <p:spPr bwMode="auto">
            <a:xfrm>
              <a:off x="3206641" y="2101998"/>
              <a:ext cx="1398538" cy="211097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0" name="Freeform 91">
              <a:extLst>
                <a:ext uri="{FF2B5EF4-FFF2-40B4-BE49-F238E27FC236}">
                  <a16:creationId xmlns:a16="http://schemas.microsoft.com/office/drawing/2014/main" id="{B9E39453-7E2E-4575-97A6-29CE4C54CC75}"/>
                </a:ext>
              </a:extLst>
            </p:cNvPr>
            <p:cNvSpPr>
              <a:spLocks/>
            </p:cNvSpPr>
            <p:nvPr/>
          </p:nvSpPr>
          <p:spPr bwMode="auto">
            <a:xfrm>
              <a:off x="4367683" y="6429492"/>
              <a:ext cx="2110992" cy="1398520"/>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1" name="Freeform 92">
              <a:extLst>
                <a:ext uri="{FF2B5EF4-FFF2-40B4-BE49-F238E27FC236}">
                  <a16:creationId xmlns:a16="http://schemas.microsoft.com/office/drawing/2014/main" id="{D5E6F963-0FF9-4C63-9AFE-D62AE7CB2286}"/>
                </a:ext>
              </a:extLst>
            </p:cNvPr>
            <p:cNvSpPr>
              <a:spLocks/>
            </p:cNvSpPr>
            <p:nvPr/>
          </p:nvSpPr>
          <p:spPr bwMode="auto">
            <a:xfrm>
              <a:off x="3206641" y="4582383"/>
              <a:ext cx="1398538" cy="211097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2" name="Freeform 93">
              <a:extLst>
                <a:ext uri="{FF2B5EF4-FFF2-40B4-BE49-F238E27FC236}">
                  <a16:creationId xmlns:a16="http://schemas.microsoft.com/office/drawing/2014/main" id="{85021762-EE5C-48EB-AFD8-F875B6B6A2D3}"/>
                </a:ext>
              </a:extLst>
            </p:cNvPr>
            <p:cNvSpPr>
              <a:spLocks/>
            </p:cNvSpPr>
            <p:nvPr/>
          </p:nvSpPr>
          <p:spPr bwMode="auto">
            <a:xfrm>
              <a:off x="8721599" y="2101998"/>
              <a:ext cx="1345765" cy="211097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3" name="Freeform 94">
              <a:extLst>
                <a:ext uri="{FF2B5EF4-FFF2-40B4-BE49-F238E27FC236}">
                  <a16:creationId xmlns:a16="http://schemas.microsoft.com/office/drawing/2014/main" id="{45C3102E-AE9C-435F-84AA-6FD3B9610EDC}"/>
                </a:ext>
              </a:extLst>
            </p:cNvPr>
            <p:cNvSpPr>
              <a:spLocks/>
            </p:cNvSpPr>
            <p:nvPr/>
          </p:nvSpPr>
          <p:spPr bwMode="auto">
            <a:xfrm>
              <a:off x="6821717" y="6429492"/>
              <a:ext cx="2137378" cy="1398520"/>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4" name="Freeform 95">
              <a:extLst>
                <a:ext uri="{FF2B5EF4-FFF2-40B4-BE49-F238E27FC236}">
                  <a16:creationId xmlns:a16="http://schemas.microsoft.com/office/drawing/2014/main" id="{94EB8091-3437-4632-ADA9-A133AAE85DB4}"/>
                </a:ext>
              </a:extLst>
            </p:cNvPr>
            <p:cNvSpPr>
              <a:spLocks/>
            </p:cNvSpPr>
            <p:nvPr/>
          </p:nvSpPr>
          <p:spPr bwMode="auto">
            <a:xfrm>
              <a:off x="6848103" y="967343"/>
              <a:ext cx="2110992" cy="1372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5" name="Freeform 96">
              <a:extLst>
                <a:ext uri="{FF2B5EF4-FFF2-40B4-BE49-F238E27FC236}">
                  <a16:creationId xmlns:a16="http://schemas.microsoft.com/office/drawing/2014/main" id="{14E85D86-6D8E-43EB-9302-9BF42F86481A}"/>
                </a:ext>
              </a:extLst>
            </p:cNvPr>
            <p:cNvSpPr>
              <a:spLocks/>
            </p:cNvSpPr>
            <p:nvPr/>
          </p:nvSpPr>
          <p:spPr bwMode="auto">
            <a:xfrm>
              <a:off x="4367683" y="967343"/>
              <a:ext cx="2110992" cy="1372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6" name="Freeform 97">
              <a:extLst>
                <a:ext uri="{FF2B5EF4-FFF2-40B4-BE49-F238E27FC236}">
                  <a16:creationId xmlns:a16="http://schemas.microsoft.com/office/drawing/2014/main" id="{D4E25DDA-87F4-4455-A94F-18381D2A5EE6}"/>
                </a:ext>
              </a:extLst>
            </p:cNvPr>
            <p:cNvSpPr>
              <a:spLocks/>
            </p:cNvSpPr>
            <p:nvPr/>
          </p:nvSpPr>
          <p:spPr bwMode="auto">
            <a:xfrm>
              <a:off x="4842658" y="3157476"/>
              <a:ext cx="3667849" cy="2137360"/>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6" name="Footer Placeholder 1">
            <a:extLst>
              <a:ext uri="{FF2B5EF4-FFF2-40B4-BE49-F238E27FC236}">
                <a16:creationId xmlns:a16="http://schemas.microsoft.com/office/drawing/2014/main" id="{A2CEAF23-CB10-42B3-8344-EC7E56C56FE4}"/>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Microsoft Confidential—Internal Only</a:t>
            </a:r>
          </a:p>
        </p:txBody>
      </p:sp>
      <p:cxnSp>
        <p:nvCxnSpPr>
          <p:cNvPr id="18" name="Straight Connector 17">
            <a:extLst>
              <a:ext uri="{FF2B5EF4-FFF2-40B4-BE49-F238E27FC236}">
                <a16:creationId xmlns:a16="http://schemas.microsoft.com/office/drawing/2014/main" id="{9DAC60F8-44B6-49D0-AA2D-D66BA482568E}"/>
              </a:ext>
            </a:extLst>
          </p:cNvPr>
          <p:cNvCxnSpPr>
            <a:cxnSpLocks/>
          </p:cNvCxnSpPr>
          <p:nvPr userDrawn="1"/>
        </p:nvCxnSpPr>
        <p:spPr>
          <a:xfrm flipH="1">
            <a:off x="7677150" y="1166730"/>
            <a:ext cx="4081699" cy="0"/>
          </a:xfrm>
          <a:prstGeom prst="line">
            <a:avLst/>
          </a:prstGeom>
          <a:ln w="12700">
            <a:solidFill>
              <a:schemeClr val="accent1"/>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8FE0456-ECDE-4F00-8936-3D7FC0612955}"/>
              </a:ext>
            </a:extLst>
          </p:cNvPr>
          <p:cNvCxnSpPr>
            <a:cxnSpLocks/>
          </p:cNvCxnSpPr>
          <p:nvPr userDrawn="1"/>
        </p:nvCxnSpPr>
        <p:spPr>
          <a:xfrm>
            <a:off x="498937" y="1166730"/>
            <a:ext cx="4078224" cy="0"/>
          </a:xfrm>
          <a:prstGeom prst="line">
            <a:avLst/>
          </a:prstGeom>
          <a:ln w="12700">
            <a:solidFill>
              <a:schemeClr val="accent1"/>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90427F9C-3A14-42B4-BAD7-CABD42CC33E7}"/>
              </a:ext>
            </a:extLst>
          </p:cNvPr>
          <p:cNvSpPr>
            <a:spLocks noGrp="1"/>
          </p:cNvSpPr>
          <p:nvPr>
            <p:ph type="body" sz="quarter" idx="12" hasCustomPrompt="1"/>
          </p:nvPr>
        </p:nvSpPr>
        <p:spPr>
          <a:xfrm>
            <a:off x="2962275" y="1028229"/>
            <a:ext cx="6267450" cy="276999"/>
          </a:xfrm>
        </p:spPr>
        <p:txBody>
          <a:bodyPr wrap="square" anchor="ctr">
            <a:spAutoFit/>
          </a:bodyPr>
          <a:lstStyle>
            <a:lvl1pPr algn="ctr">
              <a:buNone/>
              <a:defRPr kumimoji="0" lang="en-US" sz="1800" b="0" i="0" u="none" strike="noStrike" cap="none" spc="-50" normalizeH="0" dirty="0">
                <a:ln w="3175">
                  <a:noFill/>
                </a:ln>
                <a:solidFill>
                  <a:schemeClr val="accent1"/>
                </a:solidFill>
                <a:effectLst/>
                <a:uLnTx/>
                <a:uFillTx/>
                <a:latin typeface="Segoe UI Semibold"/>
              </a:defRPr>
            </a:lvl1pPr>
          </a:lstStyle>
          <a:p>
            <a:pPr marL="228600" lvl="0" indent="-228600" algn="ctr" defTabSz="914367">
              <a:spcBef>
                <a:spcPts val="0"/>
              </a:spcBef>
              <a:buSzTx/>
            </a:pPr>
            <a:r>
              <a:rPr lang="en-IN"/>
              <a:t>Insert Subtitle</a:t>
            </a:r>
            <a:endParaRPr lang="en-US"/>
          </a:p>
        </p:txBody>
      </p:sp>
    </p:spTree>
    <p:extLst>
      <p:ext uri="{BB962C8B-B14F-4D97-AF65-F5344CB8AC3E}">
        <p14:creationId xmlns:p14="http://schemas.microsoft.com/office/powerpoint/2010/main" val="2525920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right)">
                                      <p:cBhvr>
                                        <p:cTn id="7" dur="500"/>
                                        <p:tgtEl>
                                          <p:spTgt spid="19"/>
                                        </p:tgtEl>
                                      </p:cBhvr>
                                    </p:animEffect>
                                  </p:childTnLst>
                                </p:cTn>
                              </p:par>
                              <p:par>
                                <p:cTn id="8" presetID="22" presetClass="entr" presetSubtype="8"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grpId="1" nodeType="withEffect">
                                  <p:stCondLst>
                                    <p:cond delay="0"/>
                                  </p:stCondLst>
                                  <p:childTnLst>
                                    <p:animMotion origin="layout" path="M 0 1.11111E-6 L 0 0.03542 " pathEditMode="relative" rAng="0" ptsTypes="AA">
                                      <p:cBhvr>
                                        <p:cTn id="15" dur="5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4" grpId="1">
        <p:tmplLst>
          <p:tmpl>
            <p:tnLst>
              <p:par>
                <p:cTn presetID="42" presetClass="path" presetSubtype="0" decel="100000" fill="hold" nodeType="withEffect">
                  <p:stCondLst>
                    <p:cond delay="0"/>
                  </p:stCondLst>
                  <p:childTnLst>
                    <p:animMotion origin="layout" path="M 0 1.11111E-6 L 0 0.03542 " pathEditMode="relative" rAng="0" ptsTypes="AA">
                      <p:cBhvr>
                        <p:cTn dur="500" spd="-100000" fill="hold"/>
                        <p:tgtEl>
                          <p:spTgt spid="4"/>
                        </p:tgtEl>
                        <p:attrNameLst>
                          <p:attrName>ppt_x</p:attrName>
                          <p:attrName>ppt_y</p:attrName>
                        </p:attrNameLst>
                      </p:cBhvr>
                      <p:rCtr x="0" y="1759"/>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ustom">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E64642F-036C-43B6-8BAA-1D14145AE4B3}"/>
              </a:ext>
            </a:extLst>
          </p:cNvPr>
          <p:cNvGrpSpPr/>
          <p:nvPr userDrawn="1"/>
        </p:nvGrpSpPr>
        <p:grpSpPr>
          <a:xfrm>
            <a:off x="3206641" y="967343"/>
            <a:ext cx="6860723" cy="6860669"/>
            <a:chOff x="3206641" y="967343"/>
            <a:chExt cx="6860723" cy="6860669"/>
          </a:xfrm>
        </p:grpSpPr>
        <p:sp>
          <p:nvSpPr>
            <p:cNvPr id="18" name="Freeform 89">
              <a:extLst>
                <a:ext uri="{FF2B5EF4-FFF2-40B4-BE49-F238E27FC236}">
                  <a16:creationId xmlns:a16="http://schemas.microsoft.com/office/drawing/2014/main" id="{A522B982-E5F4-46F7-8335-0D48297AF24B}"/>
                </a:ext>
              </a:extLst>
            </p:cNvPr>
            <p:cNvSpPr>
              <a:spLocks/>
            </p:cNvSpPr>
            <p:nvPr/>
          </p:nvSpPr>
          <p:spPr bwMode="auto">
            <a:xfrm>
              <a:off x="8721599" y="4582383"/>
              <a:ext cx="1345765" cy="211097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9" name="Freeform 90">
              <a:extLst>
                <a:ext uri="{FF2B5EF4-FFF2-40B4-BE49-F238E27FC236}">
                  <a16:creationId xmlns:a16="http://schemas.microsoft.com/office/drawing/2014/main" id="{9CB78068-BABC-4CCF-88A5-D4B83D3B2C48}"/>
                </a:ext>
              </a:extLst>
            </p:cNvPr>
            <p:cNvSpPr>
              <a:spLocks/>
            </p:cNvSpPr>
            <p:nvPr/>
          </p:nvSpPr>
          <p:spPr bwMode="auto">
            <a:xfrm>
              <a:off x="3206641" y="2101998"/>
              <a:ext cx="1398538" cy="211097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0" name="Freeform 91">
              <a:extLst>
                <a:ext uri="{FF2B5EF4-FFF2-40B4-BE49-F238E27FC236}">
                  <a16:creationId xmlns:a16="http://schemas.microsoft.com/office/drawing/2014/main" id="{AE621F41-0833-4DB7-AB5D-A2434CCBCD10}"/>
                </a:ext>
              </a:extLst>
            </p:cNvPr>
            <p:cNvSpPr>
              <a:spLocks/>
            </p:cNvSpPr>
            <p:nvPr/>
          </p:nvSpPr>
          <p:spPr bwMode="auto">
            <a:xfrm>
              <a:off x="4367683" y="6429492"/>
              <a:ext cx="2110992" cy="1398520"/>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1" name="Freeform 92">
              <a:extLst>
                <a:ext uri="{FF2B5EF4-FFF2-40B4-BE49-F238E27FC236}">
                  <a16:creationId xmlns:a16="http://schemas.microsoft.com/office/drawing/2014/main" id="{7B89EAF0-D737-4496-8B11-80798217EC9D}"/>
                </a:ext>
              </a:extLst>
            </p:cNvPr>
            <p:cNvSpPr>
              <a:spLocks/>
            </p:cNvSpPr>
            <p:nvPr/>
          </p:nvSpPr>
          <p:spPr bwMode="auto">
            <a:xfrm>
              <a:off x="3206641" y="4582383"/>
              <a:ext cx="1398538" cy="211097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2" name="Freeform 93">
              <a:extLst>
                <a:ext uri="{FF2B5EF4-FFF2-40B4-BE49-F238E27FC236}">
                  <a16:creationId xmlns:a16="http://schemas.microsoft.com/office/drawing/2014/main" id="{3327DC3A-90BB-4E24-BCA8-67C5B7071754}"/>
                </a:ext>
              </a:extLst>
            </p:cNvPr>
            <p:cNvSpPr>
              <a:spLocks/>
            </p:cNvSpPr>
            <p:nvPr/>
          </p:nvSpPr>
          <p:spPr bwMode="auto">
            <a:xfrm>
              <a:off x="8721599" y="2101998"/>
              <a:ext cx="1345765" cy="211097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4" name="Freeform 94">
              <a:extLst>
                <a:ext uri="{FF2B5EF4-FFF2-40B4-BE49-F238E27FC236}">
                  <a16:creationId xmlns:a16="http://schemas.microsoft.com/office/drawing/2014/main" id="{D815DD07-0A03-46FD-9D68-77EBC27DAC0A}"/>
                </a:ext>
              </a:extLst>
            </p:cNvPr>
            <p:cNvSpPr>
              <a:spLocks/>
            </p:cNvSpPr>
            <p:nvPr/>
          </p:nvSpPr>
          <p:spPr bwMode="auto">
            <a:xfrm>
              <a:off x="6821717" y="6429492"/>
              <a:ext cx="2137378" cy="1398520"/>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5" name="Freeform 95">
              <a:extLst>
                <a:ext uri="{FF2B5EF4-FFF2-40B4-BE49-F238E27FC236}">
                  <a16:creationId xmlns:a16="http://schemas.microsoft.com/office/drawing/2014/main" id="{D86DEB6F-50B8-4C49-B57A-6C6D14528D5A}"/>
                </a:ext>
              </a:extLst>
            </p:cNvPr>
            <p:cNvSpPr>
              <a:spLocks/>
            </p:cNvSpPr>
            <p:nvPr/>
          </p:nvSpPr>
          <p:spPr bwMode="auto">
            <a:xfrm>
              <a:off x="6848103" y="967343"/>
              <a:ext cx="2110992" cy="1372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6" name="Freeform 96">
              <a:extLst>
                <a:ext uri="{FF2B5EF4-FFF2-40B4-BE49-F238E27FC236}">
                  <a16:creationId xmlns:a16="http://schemas.microsoft.com/office/drawing/2014/main" id="{0049FAF2-6DF1-43F8-9448-D950833CC58A}"/>
                </a:ext>
              </a:extLst>
            </p:cNvPr>
            <p:cNvSpPr>
              <a:spLocks/>
            </p:cNvSpPr>
            <p:nvPr/>
          </p:nvSpPr>
          <p:spPr bwMode="auto">
            <a:xfrm>
              <a:off x="4367683" y="967343"/>
              <a:ext cx="2110992" cy="1372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7" name="Freeform 97">
              <a:extLst>
                <a:ext uri="{FF2B5EF4-FFF2-40B4-BE49-F238E27FC236}">
                  <a16:creationId xmlns:a16="http://schemas.microsoft.com/office/drawing/2014/main" id="{C70C4DFE-BEED-4462-B164-9F03BB11F06A}"/>
                </a:ext>
              </a:extLst>
            </p:cNvPr>
            <p:cNvSpPr>
              <a:spLocks/>
            </p:cNvSpPr>
            <p:nvPr/>
          </p:nvSpPr>
          <p:spPr bwMode="auto">
            <a:xfrm>
              <a:off x="4842658" y="3157476"/>
              <a:ext cx="3667849" cy="2137360"/>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62" name="Oval 61">
            <a:extLst>
              <a:ext uri="{FF2B5EF4-FFF2-40B4-BE49-F238E27FC236}">
                <a16:creationId xmlns:a16="http://schemas.microsoft.com/office/drawing/2014/main" id="{BE38AB98-ACB0-4A32-B20E-DDE714F4E3DE}"/>
              </a:ext>
            </a:extLst>
          </p:cNvPr>
          <p:cNvSpPr/>
          <p:nvPr/>
        </p:nvSpPr>
        <p:spPr bwMode="auto">
          <a:xfrm>
            <a:off x="9505296" y="2660065"/>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sp>
        <p:nvSpPr>
          <p:cNvPr id="67" name="Oval 66">
            <a:extLst>
              <a:ext uri="{FF2B5EF4-FFF2-40B4-BE49-F238E27FC236}">
                <a16:creationId xmlns:a16="http://schemas.microsoft.com/office/drawing/2014/main" id="{9C13C9C4-D7D2-46D8-A1DE-65B4FAA98969}"/>
              </a:ext>
            </a:extLst>
          </p:cNvPr>
          <p:cNvSpPr/>
          <p:nvPr/>
        </p:nvSpPr>
        <p:spPr bwMode="auto">
          <a:xfrm>
            <a:off x="1855619" y="2660065"/>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sp>
        <p:nvSpPr>
          <p:cNvPr id="78" name="Oval 77">
            <a:extLst>
              <a:ext uri="{FF2B5EF4-FFF2-40B4-BE49-F238E27FC236}">
                <a16:creationId xmlns:a16="http://schemas.microsoft.com/office/drawing/2014/main" id="{D817748A-A9EC-451A-A1E8-FBF046F17ADD}"/>
              </a:ext>
            </a:extLst>
          </p:cNvPr>
          <p:cNvSpPr/>
          <p:nvPr/>
        </p:nvSpPr>
        <p:spPr bwMode="auto">
          <a:xfrm>
            <a:off x="5680457" y="2660065"/>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sp>
        <p:nvSpPr>
          <p:cNvPr id="112" name="Text Placeholder 107">
            <a:extLst>
              <a:ext uri="{FF2B5EF4-FFF2-40B4-BE49-F238E27FC236}">
                <a16:creationId xmlns:a16="http://schemas.microsoft.com/office/drawing/2014/main" id="{A0CBF387-2F0A-436D-AD6E-378ABE79F970}"/>
              </a:ext>
            </a:extLst>
          </p:cNvPr>
          <p:cNvSpPr>
            <a:spLocks noGrp="1"/>
          </p:cNvSpPr>
          <p:nvPr>
            <p:ph type="body" sz="quarter" idx="15" hasCustomPrompt="1"/>
          </p:nvPr>
        </p:nvSpPr>
        <p:spPr>
          <a:xfrm>
            <a:off x="670962" y="4408797"/>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4" name="Text Placeholder 107">
            <a:extLst>
              <a:ext uri="{FF2B5EF4-FFF2-40B4-BE49-F238E27FC236}">
                <a16:creationId xmlns:a16="http://schemas.microsoft.com/office/drawing/2014/main" id="{D4BAA7AB-552C-4DB7-86CF-AB333A89DD32}"/>
              </a:ext>
            </a:extLst>
          </p:cNvPr>
          <p:cNvSpPr>
            <a:spLocks noGrp="1"/>
          </p:cNvSpPr>
          <p:nvPr>
            <p:ph type="body" sz="quarter" idx="16" hasCustomPrompt="1"/>
          </p:nvPr>
        </p:nvSpPr>
        <p:spPr>
          <a:xfrm>
            <a:off x="4495801" y="4408797"/>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5" name="Text Placeholder 107">
            <a:extLst>
              <a:ext uri="{FF2B5EF4-FFF2-40B4-BE49-F238E27FC236}">
                <a16:creationId xmlns:a16="http://schemas.microsoft.com/office/drawing/2014/main" id="{5BC8D97C-E09D-46A6-AAC4-A16B2023649F}"/>
              </a:ext>
            </a:extLst>
          </p:cNvPr>
          <p:cNvSpPr>
            <a:spLocks noGrp="1"/>
          </p:cNvSpPr>
          <p:nvPr>
            <p:ph type="body" sz="quarter" idx="17" hasCustomPrompt="1"/>
          </p:nvPr>
        </p:nvSpPr>
        <p:spPr>
          <a:xfrm>
            <a:off x="8320639" y="4408797"/>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63" name="Text Placeholder 107">
            <a:extLst>
              <a:ext uri="{FF2B5EF4-FFF2-40B4-BE49-F238E27FC236}">
                <a16:creationId xmlns:a16="http://schemas.microsoft.com/office/drawing/2014/main" id="{3CF6A28B-E083-4543-A5E9-075011E8116C}"/>
              </a:ext>
            </a:extLst>
          </p:cNvPr>
          <p:cNvSpPr>
            <a:spLocks noGrp="1"/>
          </p:cNvSpPr>
          <p:nvPr>
            <p:ph type="body" sz="quarter" idx="18" hasCustomPrompt="1"/>
          </p:nvPr>
        </p:nvSpPr>
        <p:spPr>
          <a:xfrm>
            <a:off x="2705296" y="1077871"/>
            <a:ext cx="6781409" cy="307777"/>
          </a:xfrm>
        </p:spPr>
        <p:txBody>
          <a:bodyPr wrap="square">
            <a:spAutoFit/>
          </a:bodyPr>
          <a:lstStyle>
            <a:lvl1pPr algn="ctr">
              <a:buNone/>
              <a:defRPr kumimoji="0" lang="en-US" sz="2000" b="0" i="0" u="none" strike="noStrike" kern="0" cap="none" normalizeH="0" dirty="0">
                <a:ln>
                  <a:noFill/>
                </a:ln>
                <a:solidFill>
                  <a:schemeClr val="accent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0"/>
              </a:spcBef>
              <a:buSzTx/>
              <a:buFontTx/>
              <a:buNone/>
            </a:pPr>
            <a:r>
              <a:rPr lang="en-US"/>
              <a:t>Insert Text</a:t>
            </a:r>
          </a:p>
        </p:txBody>
      </p:sp>
      <p:sp>
        <p:nvSpPr>
          <p:cNvPr id="174" name="Text Placeholder 107">
            <a:extLst>
              <a:ext uri="{FF2B5EF4-FFF2-40B4-BE49-F238E27FC236}">
                <a16:creationId xmlns:a16="http://schemas.microsoft.com/office/drawing/2014/main" id="{2DE8B59A-185C-41AC-B73B-5A3EFEB0A2B4}"/>
              </a:ext>
            </a:extLst>
          </p:cNvPr>
          <p:cNvSpPr>
            <a:spLocks noGrp="1"/>
          </p:cNvSpPr>
          <p:nvPr>
            <p:ph type="body" sz="quarter" idx="19" hasCustomPrompt="1"/>
          </p:nvPr>
        </p:nvSpPr>
        <p:spPr>
          <a:xfrm>
            <a:off x="1214924" y="2044824"/>
            <a:ext cx="2112476" cy="369332"/>
          </a:xfrm>
        </p:spPr>
        <p:txBody>
          <a:bodyPr wrap="square">
            <a:spAutoFit/>
          </a:bodyPr>
          <a:lstStyle>
            <a:lvl1pPr algn="ctr">
              <a:buNone/>
              <a:defRPr kumimoji="0" lang="en-US" sz="2400" b="0" i="0" u="none" strike="noStrike" kern="0" cap="none" normalizeH="0" dirty="0">
                <a:ln>
                  <a:noFill/>
                </a:ln>
                <a:solidFill>
                  <a:schemeClr val="tx1"/>
                </a:solidFill>
                <a:effectLst/>
                <a:uLnTx/>
                <a:uFillTx/>
                <a:latin typeface="+mj-lt"/>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defTabSz="914367">
              <a:spcBef>
                <a:spcPts val="0"/>
              </a:spcBef>
              <a:buSzTx/>
              <a:buFontTx/>
              <a:buNone/>
            </a:pPr>
            <a:r>
              <a:rPr lang="en-US"/>
              <a:t>Insert Text</a:t>
            </a:r>
          </a:p>
        </p:txBody>
      </p:sp>
      <p:sp>
        <p:nvSpPr>
          <p:cNvPr id="175" name="Text Placeholder 107">
            <a:extLst>
              <a:ext uri="{FF2B5EF4-FFF2-40B4-BE49-F238E27FC236}">
                <a16:creationId xmlns:a16="http://schemas.microsoft.com/office/drawing/2014/main" id="{ACA379A6-F540-49B7-9827-A33445AD15F2}"/>
              </a:ext>
            </a:extLst>
          </p:cNvPr>
          <p:cNvSpPr>
            <a:spLocks noGrp="1"/>
          </p:cNvSpPr>
          <p:nvPr>
            <p:ph type="body" sz="quarter" idx="20" hasCustomPrompt="1"/>
          </p:nvPr>
        </p:nvSpPr>
        <p:spPr>
          <a:xfrm>
            <a:off x="5039762" y="2044824"/>
            <a:ext cx="2112476" cy="369332"/>
          </a:xfrm>
        </p:spPr>
        <p:txBody>
          <a:bodyPr wrap="square">
            <a:spAutoFit/>
          </a:bodyPr>
          <a:lstStyle>
            <a:lvl1pPr algn="ctr">
              <a:buNone/>
              <a:defRPr kumimoji="0" lang="en-US" sz="2400" b="0" i="0" u="none" strike="noStrike" kern="0" cap="none" normalizeH="0" dirty="0">
                <a:ln>
                  <a:noFill/>
                </a:ln>
                <a:solidFill>
                  <a:schemeClr val="tx1"/>
                </a:solidFill>
                <a:effectLst/>
                <a:uLnTx/>
                <a:uFillTx/>
                <a:latin typeface="+mj-lt"/>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defTabSz="914367">
              <a:spcBef>
                <a:spcPts val="0"/>
              </a:spcBef>
              <a:buSzTx/>
              <a:buFontTx/>
              <a:buNone/>
            </a:pPr>
            <a:r>
              <a:rPr lang="en-US"/>
              <a:t>Insert Text</a:t>
            </a:r>
          </a:p>
        </p:txBody>
      </p:sp>
      <p:sp>
        <p:nvSpPr>
          <p:cNvPr id="176" name="Text Placeholder 107">
            <a:extLst>
              <a:ext uri="{FF2B5EF4-FFF2-40B4-BE49-F238E27FC236}">
                <a16:creationId xmlns:a16="http://schemas.microsoft.com/office/drawing/2014/main" id="{6C98B81D-A760-4178-A0C9-7E7362DE815B}"/>
              </a:ext>
            </a:extLst>
          </p:cNvPr>
          <p:cNvSpPr>
            <a:spLocks noGrp="1"/>
          </p:cNvSpPr>
          <p:nvPr>
            <p:ph type="body" sz="quarter" idx="21" hasCustomPrompt="1"/>
          </p:nvPr>
        </p:nvSpPr>
        <p:spPr>
          <a:xfrm>
            <a:off x="8864600" y="2044824"/>
            <a:ext cx="2112476" cy="369332"/>
          </a:xfrm>
        </p:spPr>
        <p:txBody>
          <a:bodyPr wrap="square">
            <a:spAutoFit/>
          </a:bodyPr>
          <a:lstStyle>
            <a:lvl1pPr algn="ctr">
              <a:buNone/>
              <a:defRPr kumimoji="0" lang="en-US" sz="2400" b="0" i="0" u="none" strike="noStrike" kern="0" cap="none" normalizeH="0" dirty="0">
                <a:ln>
                  <a:noFill/>
                </a:ln>
                <a:solidFill>
                  <a:schemeClr val="tx1"/>
                </a:solidFill>
                <a:effectLst/>
                <a:uLnTx/>
                <a:uFillTx/>
                <a:latin typeface="+mj-lt"/>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defTabSz="914367">
              <a:spcBef>
                <a:spcPts val="0"/>
              </a:spcBef>
              <a:buSzTx/>
              <a:buFontTx/>
              <a:buNone/>
            </a:pPr>
            <a:r>
              <a:rPr lang="en-US"/>
              <a:t>Insert Text</a:t>
            </a:r>
          </a:p>
        </p:txBody>
      </p:sp>
      <p:sp>
        <p:nvSpPr>
          <p:cNvPr id="23" name="Slide Number Placeholder 3">
            <a:extLst>
              <a:ext uri="{FF2B5EF4-FFF2-40B4-BE49-F238E27FC236}">
                <a16:creationId xmlns:a16="http://schemas.microsoft.com/office/drawing/2014/main" id="{27F06930-ACD4-46A5-A107-188D0400FCE4}"/>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A69D3EE6-3DAF-4465-8473-2E3EB414CF9C}"/>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Microsoft Confidential—Internal Only</a:t>
            </a:r>
          </a:p>
        </p:txBody>
      </p:sp>
      <p:sp>
        <p:nvSpPr>
          <p:cNvPr id="31" name="Text Placeholder 107">
            <a:extLst>
              <a:ext uri="{FF2B5EF4-FFF2-40B4-BE49-F238E27FC236}">
                <a16:creationId xmlns:a16="http://schemas.microsoft.com/office/drawing/2014/main" id="{F9003FDF-D72B-44C3-AC8D-C82427FEC13A}"/>
              </a:ext>
            </a:extLst>
          </p:cNvPr>
          <p:cNvSpPr>
            <a:spLocks noGrp="1"/>
          </p:cNvSpPr>
          <p:nvPr>
            <p:ph type="body" sz="quarter" idx="12" hasCustomPrompt="1"/>
          </p:nvPr>
        </p:nvSpPr>
        <p:spPr>
          <a:xfrm>
            <a:off x="670962" y="3725467"/>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32" name="Text Placeholder 107">
            <a:extLst>
              <a:ext uri="{FF2B5EF4-FFF2-40B4-BE49-F238E27FC236}">
                <a16:creationId xmlns:a16="http://schemas.microsoft.com/office/drawing/2014/main" id="{13E611D9-0F5A-44A6-B72C-6C881E19FFF2}"/>
              </a:ext>
            </a:extLst>
          </p:cNvPr>
          <p:cNvSpPr>
            <a:spLocks noGrp="1"/>
          </p:cNvSpPr>
          <p:nvPr>
            <p:ph type="body" sz="quarter" idx="25" hasCustomPrompt="1"/>
          </p:nvPr>
        </p:nvSpPr>
        <p:spPr>
          <a:xfrm>
            <a:off x="4495801" y="3725467"/>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33" name="Text Placeholder 107">
            <a:extLst>
              <a:ext uri="{FF2B5EF4-FFF2-40B4-BE49-F238E27FC236}">
                <a16:creationId xmlns:a16="http://schemas.microsoft.com/office/drawing/2014/main" id="{FC45CDEE-B397-461A-875E-6EDB52BA6BB1}"/>
              </a:ext>
            </a:extLst>
          </p:cNvPr>
          <p:cNvSpPr>
            <a:spLocks noGrp="1"/>
          </p:cNvSpPr>
          <p:nvPr>
            <p:ph type="body" sz="quarter" idx="26" hasCustomPrompt="1"/>
          </p:nvPr>
        </p:nvSpPr>
        <p:spPr>
          <a:xfrm>
            <a:off x="8320639" y="3725467"/>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Tree>
    <p:extLst>
      <p:ext uri="{BB962C8B-B14F-4D97-AF65-F5344CB8AC3E}">
        <p14:creationId xmlns:p14="http://schemas.microsoft.com/office/powerpoint/2010/main" val="34886750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112" name="Text Placeholder 107">
            <a:extLst>
              <a:ext uri="{FF2B5EF4-FFF2-40B4-BE49-F238E27FC236}">
                <a16:creationId xmlns:a16="http://schemas.microsoft.com/office/drawing/2014/main" id="{A0CBF387-2F0A-436D-AD6E-378ABE79F970}"/>
              </a:ext>
            </a:extLst>
          </p:cNvPr>
          <p:cNvSpPr>
            <a:spLocks noGrp="1"/>
          </p:cNvSpPr>
          <p:nvPr>
            <p:ph type="body" sz="quarter" idx="15" hasCustomPrompt="1"/>
          </p:nvPr>
        </p:nvSpPr>
        <p:spPr>
          <a:xfrm>
            <a:off x="670962" y="3918336"/>
            <a:ext cx="3200400" cy="1107996"/>
          </a:xfrm>
        </p:spPr>
        <p:txBody>
          <a:bodyPr vert="horz" wrap="square" lIns="0" tIns="0" rIns="0" bIns="0" rtlCol="0">
            <a:spAutoFit/>
          </a:bodyPr>
          <a:lstStyle>
            <a:lvl1pPr algn="ctr">
              <a:buNone/>
              <a:defRPr kumimoji="0" lang="en-US" sz="1800" b="0" i="0" u="none" strike="noStrike" cap="none" normalizeH="0" dirty="0" smtClean="0">
                <a:ln>
                  <a:noFill/>
                </a:ln>
                <a:solidFill>
                  <a:schemeClr val="tx1"/>
                </a:solidFill>
                <a:effectLst/>
                <a:uLnTx/>
                <a:uFillTx/>
                <a:latin typeface="+mn-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588"/>
              </a:spcBef>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a:t>
            </a:r>
          </a:p>
        </p:txBody>
      </p:sp>
      <p:sp>
        <p:nvSpPr>
          <p:cNvPr id="17" name="Slide Number Placeholder 3">
            <a:extLst>
              <a:ext uri="{FF2B5EF4-FFF2-40B4-BE49-F238E27FC236}">
                <a16:creationId xmlns:a16="http://schemas.microsoft.com/office/drawing/2014/main" id="{7D737DFF-8B8F-44B2-934D-028A2F62F9E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4" name="Footer Placeholder 1">
            <a:extLst>
              <a:ext uri="{FF2B5EF4-FFF2-40B4-BE49-F238E27FC236}">
                <a16:creationId xmlns:a16="http://schemas.microsoft.com/office/drawing/2014/main" id="{735C2025-ECB7-4C55-BB41-928411D8455F}"/>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Microsoft Confidential—Internal Only</a:t>
            </a:r>
          </a:p>
        </p:txBody>
      </p:sp>
      <p:sp>
        <p:nvSpPr>
          <p:cNvPr id="57" name="Text Placeholder 107">
            <a:extLst>
              <a:ext uri="{FF2B5EF4-FFF2-40B4-BE49-F238E27FC236}">
                <a16:creationId xmlns:a16="http://schemas.microsoft.com/office/drawing/2014/main" id="{81548CD8-195E-413D-A9A6-5C6DBC0F3D79}"/>
              </a:ext>
            </a:extLst>
          </p:cNvPr>
          <p:cNvSpPr>
            <a:spLocks noGrp="1"/>
          </p:cNvSpPr>
          <p:nvPr>
            <p:ph type="body" sz="quarter" idx="18" hasCustomPrompt="1"/>
          </p:nvPr>
        </p:nvSpPr>
        <p:spPr>
          <a:xfrm>
            <a:off x="4495801" y="3918336"/>
            <a:ext cx="3200400" cy="1107996"/>
          </a:xfrm>
        </p:spPr>
        <p:txBody>
          <a:bodyPr vert="horz" wrap="square" lIns="0" tIns="0" rIns="0" bIns="0" rtlCol="0">
            <a:spAutoFit/>
          </a:bodyPr>
          <a:lstStyle>
            <a:lvl1pPr algn="ctr">
              <a:buNone/>
              <a:defRPr kumimoji="0" lang="en-US" sz="1800" b="0" i="0" u="none" strike="noStrike" cap="none" normalizeH="0" dirty="0" smtClean="0">
                <a:ln>
                  <a:noFill/>
                </a:ln>
                <a:solidFill>
                  <a:schemeClr val="tx1"/>
                </a:solidFill>
                <a:effectLst/>
                <a:uLnTx/>
                <a:uFillTx/>
                <a:latin typeface="+mn-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588"/>
              </a:spcBef>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a:t>
            </a:r>
          </a:p>
        </p:txBody>
      </p:sp>
      <p:sp>
        <p:nvSpPr>
          <p:cNvPr id="58" name="Text Placeholder 107">
            <a:extLst>
              <a:ext uri="{FF2B5EF4-FFF2-40B4-BE49-F238E27FC236}">
                <a16:creationId xmlns:a16="http://schemas.microsoft.com/office/drawing/2014/main" id="{29CF9A25-2914-4DDE-9E3C-C0A8D5CAD895}"/>
              </a:ext>
            </a:extLst>
          </p:cNvPr>
          <p:cNvSpPr>
            <a:spLocks noGrp="1"/>
          </p:cNvSpPr>
          <p:nvPr>
            <p:ph type="body" sz="quarter" idx="19" hasCustomPrompt="1"/>
          </p:nvPr>
        </p:nvSpPr>
        <p:spPr>
          <a:xfrm>
            <a:off x="8320639" y="3918336"/>
            <a:ext cx="3200400" cy="1107996"/>
          </a:xfrm>
        </p:spPr>
        <p:txBody>
          <a:bodyPr vert="horz" wrap="square" lIns="0" tIns="0" rIns="0" bIns="0" rtlCol="0">
            <a:spAutoFit/>
          </a:bodyPr>
          <a:lstStyle>
            <a:lvl1pPr algn="ctr">
              <a:buNone/>
              <a:defRPr kumimoji="0" lang="en-US" sz="1800" b="0" i="0" u="none" strike="noStrike" cap="none" normalizeH="0" dirty="0" smtClean="0">
                <a:ln>
                  <a:noFill/>
                </a:ln>
                <a:solidFill>
                  <a:schemeClr val="tx1"/>
                </a:solidFill>
                <a:effectLst/>
                <a:uLnTx/>
                <a:uFillTx/>
                <a:latin typeface="+mn-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588"/>
              </a:spcBef>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a:t>
            </a:r>
          </a:p>
        </p:txBody>
      </p:sp>
      <p:sp>
        <p:nvSpPr>
          <p:cNvPr id="60" name="Text Placeholder 107">
            <a:extLst>
              <a:ext uri="{FF2B5EF4-FFF2-40B4-BE49-F238E27FC236}">
                <a16:creationId xmlns:a16="http://schemas.microsoft.com/office/drawing/2014/main" id="{4B2291AD-6781-47C6-8F81-7759DFA8BE31}"/>
              </a:ext>
            </a:extLst>
          </p:cNvPr>
          <p:cNvSpPr>
            <a:spLocks noGrp="1"/>
          </p:cNvSpPr>
          <p:nvPr>
            <p:ph type="body" sz="quarter" idx="20" hasCustomPrompt="1"/>
          </p:nvPr>
        </p:nvSpPr>
        <p:spPr>
          <a:xfrm>
            <a:off x="670962" y="3237995"/>
            <a:ext cx="3200400" cy="615553"/>
          </a:xfrm>
        </p:spPr>
        <p:txBody>
          <a:bodyPr wrap="square" lIns="0" tIns="0" rIns="0" bIns="0">
            <a:spAutoFit/>
          </a:bodyPr>
          <a:lstStyle>
            <a:lvl1pPr marL="0" indent="0"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Lorem ipsum dolor sit </a:t>
            </a:r>
            <a:r>
              <a:rPr lang="en-US" err="1"/>
              <a:t>amet</a:t>
            </a:r>
            <a:r>
              <a:rPr lang="en-US"/>
              <a:t>, </a:t>
            </a:r>
            <a:r>
              <a:rPr lang="en-US" err="1"/>
              <a:t>consectetur</a:t>
            </a:r>
            <a:endParaRPr lang="en-US"/>
          </a:p>
        </p:txBody>
      </p:sp>
      <p:sp>
        <p:nvSpPr>
          <p:cNvPr id="61" name="Text Placeholder 107">
            <a:extLst>
              <a:ext uri="{FF2B5EF4-FFF2-40B4-BE49-F238E27FC236}">
                <a16:creationId xmlns:a16="http://schemas.microsoft.com/office/drawing/2014/main" id="{7229A0E8-ECB1-4B3C-ABC5-9FFE0B43DE9F}"/>
              </a:ext>
            </a:extLst>
          </p:cNvPr>
          <p:cNvSpPr>
            <a:spLocks noGrp="1"/>
          </p:cNvSpPr>
          <p:nvPr>
            <p:ph type="body" sz="quarter" idx="21" hasCustomPrompt="1"/>
          </p:nvPr>
        </p:nvSpPr>
        <p:spPr>
          <a:xfrm>
            <a:off x="4495801" y="3237995"/>
            <a:ext cx="3200400" cy="615553"/>
          </a:xfrm>
        </p:spPr>
        <p:txBody>
          <a:bodyPr wrap="square" lIns="0" tIns="0" rIns="0" bIns="0">
            <a:spAutoFit/>
          </a:bodyPr>
          <a:lstStyle>
            <a:lvl1pPr marL="0" indent="0"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Lorem ipsum dolor sit </a:t>
            </a:r>
            <a:r>
              <a:rPr lang="en-US" err="1"/>
              <a:t>amet</a:t>
            </a:r>
            <a:r>
              <a:rPr lang="en-US"/>
              <a:t>, </a:t>
            </a:r>
            <a:r>
              <a:rPr lang="en-US" err="1"/>
              <a:t>consectetur</a:t>
            </a:r>
            <a:endParaRPr lang="en-US"/>
          </a:p>
        </p:txBody>
      </p:sp>
      <p:sp>
        <p:nvSpPr>
          <p:cNvPr id="62" name="Text Placeholder 107">
            <a:extLst>
              <a:ext uri="{FF2B5EF4-FFF2-40B4-BE49-F238E27FC236}">
                <a16:creationId xmlns:a16="http://schemas.microsoft.com/office/drawing/2014/main" id="{20982D9A-3195-4E3A-B73D-06A45CF254F4}"/>
              </a:ext>
            </a:extLst>
          </p:cNvPr>
          <p:cNvSpPr>
            <a:spLocks noGrp="1"/>
          </p:cNvSpPr>
          <p:nvPr>
            <p:ph type="body" sz="quarter" idx="22" hasCustomPrompt="1"/>
          </p:nvPr>
        </p:nvSpPr>
        <p:spPr>
          <a:xfrm>
            <a:off x="8320639" y="3237995"/>
            <a:ext cx="3200400" cy="615553"/>
          </a:xfrm>
        </p:spPr>
        <p:txBody>
          <a:bodyPr wrap="square" lIns="0" tIns="0" rIns="0" bIns="0">
            <a:spAutoFit/>
          </a:bodyPr>
          <a:lstStyle>
            <a:lvl1pPr marL="0" indent="0"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16042857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us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103" name="Text Placeholder 107">
            <a:extLst>
              <a:ext uri="{FF2B5EF4-FFF2-40B4-BE49-F238E27FC236}">
                <a16:creationId xmlns:a16="http://schemas.microsoft.com/office/drawing/2014/main" id="{2E8F3B82-B6A4-431A-B2EE-7F2B377F9C65}"/>
              </a:ext>
            </a:extLst>
          </p:cNvPr>
          <p:cNvSpPr>
            <a:spLocks noGrp="1"/>
          </p:cNvSpPr>
          <p:nvPr>
            <p:ph type="body" sz="quarter" idx="12" hasCustomPrompt="1"/>
          </p:nvPr>
        </p:nvSpPr>
        <p:spPr>
          <a:xfrm>
            <a:off x="1159765" y="1112684"/>
            <a:ext cx="3118104" cy="338554"/>
          </a:xfrm>
          <a:noFill/>
          <a:ln w="6350">
            <a:noFill/>
          </a:ln>
        </p:spPr>
        <p:txBody>
          <a:bodyPr wrap="square" anchor="ctr">
            <a:noAutofit/>
          </a:bodyPr>
          <a:lstStyle>
            <a:lvl1pPr algn="ctr">
              <a:buNone/>
              <a:defRPr kumimoji="0" lang="en-US" sz="2200" b="0" i="0" u="none" strike="noStrike" kern="0" cap="none" normalizeH="0" dirty="0">
                <a:ln>
                  <a:noFill/>
                </a:ln>
                <a:solidFill>
                  <a:schemeClr val="accent1"/>
                </a:solidFill>
                <a:effectLst/>
                <a:uLnTx/>
                <a:uFillTx/>
                <a:latin typeface="+mj-lt"/>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
        <p:nvSpPr>
          <p:cNvPr id="104" name="Text Placeholder 107">
            <a:extLst>
              <a:ext uri="{FF2B5EF4-FFF2-40B4-BE49-F238E27FC236}">
                <a16:creationId xmlns:a16="http://schemas.microsoft.com/office/drawing/2014/main" id="{FD27E6D1-015F-4A2D-9560-6EAB3B849B6D}"/>
              </a:ext>
            </a:extLst>
          </p:cNvPr>
          <p:cNvSpPr>
            <a:spLocks noGrp="1"/>
          </p:cNvSpPr>
          <p:nvPr>
            <p:ph type="body" sz="quarter" idx="13" hasCustomPrompt="1"/>
          </p:nvPr>
        </p:nvSpPr>
        <p:spPr>
          <a:xfrm>
            <a:off x="4529982" y="1112684"/>
            <a:ext cx="3118104" cy="338554"/>
          </a:xfrm>
          <a:noFill/>
          <a:ln w="6350">
            <a:noFill/>
          </a:ln>
        </p:spPr>
        <p:txBody>
          <a:bodyPr wrap="square" anchor="ctr">
            <a:noAutofit/>
          </a:bodyPr>
          <a:lstStyle>
            <a:lvl1pPr algn="ctr">
              <a:buNone/>
              <a:defRPr kumimoji="0" lang="en-US" sz="2200" b="0" i="0" u="none" strike="noStrike" kern="0" cap="none" normalizeH="0" dirty="0">
                <a:ln>
                  <a:noFill/>
                </a:ln>
                <a:solidFill>
                  <a:schemeClr val="accent1"/>
                </a:solidFill>
                <a:effectLst/>
                <a:uLnTx/>
                <a:uFillTx/>
                <a:latin typeface="+mj-lt"/>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
        <p:nvSpPr>
          <p:cNvPr id="105" name="Text Placeholder 107">
            <a:extLst>
              <a:ext uri="{FF2B5EF4-FFF2-40B4-BE49-F238E27FC236}">
                <a16:creationId xmlns:a16="http://schemas.microsoft.com/office/drawing/2014/main" id="{4C87E6B3-B386-44A0-BD4D-B903D91D05D3}"/>
              </a:ext>
            </a:extLst>
          </p:cNvPr>
          <p:cNvSpPr>
            <a:spLocks noGrp="1"/>
          </p:cNvSpPr>
          <p:nvPr>
            <p:ph type="body" sz="quarter" idx="14" hasCustomPrompt="1"/>
          </p:nvPr>
        </p:nvSpPr>
        <p:spPr>
          <a:xfrm>
            <a:off x="7914132" y="1112684"/>
            <a:ext cx="3118104" cy="338554"/>
          </a:xfrm>
          <a:noFill/>
          <a:ln w="6350">
            <a:noFill/>
          </a:ln>
        </p:spPr>
        <p:txBody>
          <a:bodyPr wrap="square" anchor="ctr">
            <a:noAutofit/>
          </a:bodyPr>
          <a:lstStyle>
            <a:lvl1pPr algn="ctr">
              <a:buNone/>
              <a:defRPr kumimoji="0" lang="en-US" sz="2200" b="0" i="0" u="none" strike="noStrike" kern="0" cap="none" normalizeH="0" dirty="0">
                <a:ln>
                  <a:noFill/>
                </a:ln>
                <a:solidFill>
                  <a:schemeClr val="accent1"/>
                </a:solidFill>
                <a:effectLst/>
                <a:uLnTx/>
                <a:uFillTx/>
                <a:latin typeface="+mj-lt"/>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
        <p:nvSpPr>
          <p:cNvPr id="122" name="Rectangle 121">
            <a:extLst>
              <a:ext uri="{FF2B5EF4-FFF2-40B4-BE49-F238E27FC236}">
                <a16:creationId xmlns:a16="http://schemas.microsoft.com/office/drawing/2014/main" id="{14A4D1FE-B4A5-4BF9-BCF5-D4E8C97D8171}"/>
              </a:ext>
              <a:ext uri="{C183D7F6-B498-43B3-948B-1728B52AA6E4}">
                <adec:decorative xmlns:adec="http://schemas.microsoft.com/office/drawing/2017/decorative" val="1"/>
              </a:ext>
            </a:extLst>
          </p:cNvPr>
          <p:cNvSpPr/>
          <p:nvPr userDrawn="1"/>
        </p:nvSpPr>
        <p:spPr>
          <a:xfrm>
            <a:off x="1156281" y="3205213"/>
            <a:ext cx="3121588" cy="2589195"/>
          </a:xfrm>
          <a:prstGeom prst="rect">
            <a:avLst/>
          </a:prstGeom>
          <a:noFill/>
          <a:ln w="6350">
            <a:solidFill>
              <a:schemeClr val="bg1">
                <a:lumMod val="75000"/>
              </a:schemeClr>
            </a:solidFill>
          </a:ln>
          <a:effectLst/>
        </p:spPr>
        <p:txBody>
          <a:bodyPr wrap="square"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124" name="Rectangle 123">
            <a:extLst>
              <a:ext uri="{FF2B5EF4-FFF2-40B4-BE49-F238E27FC236}">
                <a16:creationId xmlns:a16="http://schemas.microsoft.com/office/drawing/2014/main" id="{E283CDA2-ED3D-4856-A12B-07C2F054C2CD}"/>
              </a:ext>
              <a:ext uri="{C183D7F6-B498-43B3-948B-1728B52AA6E4}">
                <adec:decorative xmlns:adec="http://schemas.microsoft.com/office/drawing/2017/decorative" val="1"/>
              </a:ext>
            </a:extLst>
          </p:cNvPr>
          <p:cNvSpPr/>
          <p:nvPr userDrawn="1"/>
        </p:nvSpPr>
        <p:spPr>
          <a:xfrm>
            <a:off x="7914132" y="3205213"/>
            <a:ext cx="3121588" cy="2589195"/>
          </a:xfrm>
          <a:prstGeom prst="rect">
            <a:avLst/>
          </a:prstGeom>
          <a:noFill/>
          <a:ln w="6350">
            <a:solidFill>
              <a:schemeClr val="bg1">
                <a:lumMod val="75000"/>
              </a:schemeClr>
            </a:solidFill>
          </a:ln>
          <a:effectLst/>
        </p:spPr>
        <p:txBody>
          <a:bodyPr wrap="square"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126" name="Rectangle 125">
            <a:extLst>
              <a:ext uri="{FF2B5EF4-FFF2-40B4-BE49-F238E27FC236}">
                <a16:creationId xmlns:a16="http://schemas.microsoft.com/office/drawing/2014/main" id="{90593BD1-3BFA-47F5-8C95-3EACAA7C92A0}"/>
              </a:ext>
              <a:ext uri="{C183D7F6-B498-43B3-948B-1728B52AA6E4}">
                <adec:decorative xmlns:adec="http://schemas.microsoft.com/office/drawing/2017/decorative" val="1"/>
              </a:ext>
            </a:extLst>
          </p:cNvPr>
          <p:cNvSpPr/>
          <p:nvPr userDrawn="1"/>
        </p:nvSpPr>
        <p:spPr>
          <a:xfrm>
            <a:off x="4526498" y="3205213"/>
            <a:ext cx="3121588" cy="2589195"/>
          </a:xfrm>
          <a:prstGeom prst="rect">
            <a:avLst/>
          </a:prstGeom>
          <a:noFill/>
          <a:ln w="6350">
            <a:solidFill>
              <a:schemeClr val="bg1">
                <a:lumMod val="75000"/>
              </a:schemeClr>
            </a:solidFill>
          </a:ln>
          <a:effectLst/>
        </p:spPr>
        <p:txBody>
          <a:bodyPr wrap="square"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15" name="Slide Number Placeholder 3">
            <a:extLst>
              <a:ext uri="{FF2B5EF4-FFF2-40B4-BE49-F238E27FC236}">
                <a16:creationId xmlns:a16="http://schemas.microsoft.com/office/drawing/2014/main" id="{8C8C3718-03CC-4A1F-8D21-E35A82781FEB}"/>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4" name="Footer Placeholder 1">
            <a:extLst>
              <a:ext uri="{FF2B5EF4-FFF2-40B4-BE49-F238E27FC236}">
                <a16:creationId xmlns:a16="http://schemas.microsoft.com/office/drawing/2014/main" id="{6A950900-6725-4C43-8306-4AA5E897B59C}"/>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Microsoft Confidential—Internal Only</a:t>
            </a:r>
          </a:p>
        </p:txBody>
      </p:sp>
      <p:pic>
        <p:nvPicPr>
          <p:cNvPr id="20" name="Picture 19">
            <a:extLst>
              <a:ext uri="{FF2B5EF4-FFF2-40B4-BE49-F238E27FC236}">
                <a16:creationId xmlns:a16="http://schemas.microsoft.com/office/drawing/2014/main" id="{A26D3970-F1C8-487F-BEE5-ACA2D5B557D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526498" y="1596000"/>
            <a:ext cx="3121588" cy="1548787"/>
          </a:xfrm>
          <a:custGeom>
            <a:avLst/>
            <a:gdLst>
              <a:gd name="connsiteX0" fmla="*/ 0 w 3121588"/>
              <a:gd name="connsiteY0" fmla="*/ 0 h 1548787"/>
              <a:gd name="connsiteX1" fmla="*/ 3121588 w 3121588"/>
              <a:gd name="connsiteY1" fmla="*/ 0 h 1548787"/>
              <a:gd name="connsiteX2" fmla="*/ 3121588 w 3121588"/>
              <a:gd name="connsiteY2" fmla="*/ 1548787 h 1548787"/>
              <a:gd name="connsiteX3" fmla="*/ 0 w 3121588"/>
              <a:gd name="connsiteY3" fmla="*/ 1548787 h 1548787"/>
            </a:gdLst>
            <a:ahLst/>
            <a:cxnLst>
              <a:cxn ang="0">
                <a:pos x="connsiteX0" y="connsiteY0"/>
              </a:cxn>
              <a:cxn ang="0">
                <a:pos x="connsiteX1" y="connsiteY1"/>
              </a:cxn>
              <a:cxn ang="0">
                <a:pos x="connsiteX2" y="connsiteY2"/>
              </a:cxn>
              <a:cxn ang="0">
                <a:pos x="connsiteX3" y="connsiteY3"/>
              </a:cxn>
            </a:cxnLst>
            <a:rect l="l" t="t" r="r" b="b"/>
            <a:pathLst>
              <a:path w="3121588" h="1548787">
                <a:moveTo>
                  <a:pt x="0" y="0"/>
                </a:moveTo>
                <a:lnTo>
                  <a:pt x="3121588" y="0"/>
                </a:lnTo>
                <a:lnTo>
                  <a:pt x="3121588" y="1548787"/>
                </a:lnTo>
                <a:lnTo>
                  <a:pt x="0" y="1548787"/>
                </a:lnTo>
                <a:close/>
              </a:path>
            </a:pathLst>
          </a:custGeom>
        </p:spPr>
      </p:pic>
      <p:pic>
        <p:nvPicPr>
          <p:cNvPr id="26" name="Picture 25">
            <a:extLst>
              <a:ext uri="{FF2B5EF4-FFF2-40B4-BE49-F238E27FC236}">
                <a16:creationId xmlns:a16="http://schemas.microsoft.com/office/drawing/2014/main" id="{E068C8F4-099B-4DFA-8925-89FDC832DDF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1" r="-1"/>
          <a:stretch/>
        </p:blipFill>
        <p:spPr>
          <a:xfrm>
            <a:off x="7914132" y="1596000"/>
            <a:ext cx="3121588" cy="1548787"/>
          </a:xfrm>
          <a:custGeom>
            <a:avLst/>
            <a:gdLst>
              <a:gd name="connsiteX0" fmla="*/ 0 w 3121588"/>
              <a:gd name="connsiteY0" fmla="*/ 0 h 1548787"/>
              <a:gd name="connsiteX1" fmla="*/ 3121588 w 3121588"/>
              <a:gd name="connsiteY1" fmla="*/ 0 h 1548787"/>
              <a:gd name="connsiteX2" fmla="*/ 3121588 w 3121588"/>
              <a:gd name="connsiteY2" fmla="*/ 1548787 h 1548787"/>
              <a:gd name="connsiteX3" fmla="*/ 0 w 3121588"/>
              <a:gd name="connsiteY3" fmla="*/ 1548787 h 1548787"/>
            </a:gdLst>
            <a:ahLst/>
            <a:cxnLst>
              <a:cxn ang="0">
                <a:pos x="connsiteX0" y="connsiteY0"/>
              </a:cxn>
              <a:cxn ang="0">
                <a:pos x="connsiteX1" y="connsiteY1"/>
              </a:cxn>
              <a:cxn ang="0">
                <a:pos x="connsiteX2" y="connsiteY2"/>
              </a:cxn>
              <a:cxn ang="0">
                <a:pos x="connsiteX3" y="connsiteY3"/>
              </a:cxn>
            </a:cxnLst>
            <a:rect l="l" t="t" r="r" b="b"/>
            <a:pathLst>
              <a:path w="3121588" h="1548787">
                <a:moveTo>
                  <a:pt x="0" y="0"/>
                </a:moveTo>
                <a:lnTo>
                  <a:pt x="3121588" y="0"/>
                </a:lnTo>
                <a:lnTo>
                  <a:pt x="3121588" y="1548787"/>
                </a:lnTo>
                <a:lnTo>
                  <a:pt x="0" y="1548787"/>
                </a:lnTo>
                <a:close/>
              </a:path>
            </a:pathLst>
          </a:custGeom>
        </p:spPr>
      </p:pic>
      <p:pic>
        <p:nvPicPr>
          <p:cNvPr id="41" name="Picture 40">
            <a:extLst>
              <a:ext uri="{FF2B5EF4-FFF2-40B4-BE49-F238E27FC236}">
                <a16:creationId xmlns:a16="http://schemas.microsoft.com/office/drawing/2014/main" id="{4D61133C-5F26-4418-B515-1B2555A732A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156281" y="1596002"/>
            <a:ext cx="3121588" cy="1548787"/>
          </a:xfrm>
          <a:custGeom>
            <a:avLst/>
            <a:gdLst>
              <a:gd name="connsiteX0" fmla="*/ 0 w 3121588"/>
              <a:gd name="connsiteY0" fmla="*/ 0 h 1548787"/>
              <a:gd name="connsiteX1" fmla="*/ 3121588 w 3121588"/>
              <a:gd name="connsiteY1" fmla="*/ 0 h 1548787"/>
              <a:gd name="connsiteX2" fmla="*/ 3121588 w 3121588"/>
              <a:gd name="connsiteY2" fmla="*/ 1548787 h 1548787"/>
              <a:gd name="connsiteX3" fmla="*/ 0 w 3121588"/>
              <a:gd name="connsiteY3" fmla="*/ 1548787 h 1548787"/>
            </a:gdLst>
            <a:ahLst/>
            <a:cxnLst>
              <a:cxn ang="0">
                <a:pos x="connsiteX0" y="connsiteY0"/>
              </a:cxn>
              <a:cxn ang="0">
                <a:pos x="connsiteX1" y="connsiteY1"/>
              </a:cxn>
              <a:cxn ang="0">
                <a:pos x="connsiteX2" y="connsiteY2"/>
              </a:cxn>
              <a:cxn ang="0">
                <a:pos x="connsiteX3" y="connsiteY3"/>
              </a:cxn>
            </a:cxnLst>
            <a:rect l="l" t="t" r="r" b="b"/>
            <a:pathLst>
              <a:path w="3121588" h="1548787">
                <a:moveTo>
                  <a:pt x="0" y="0"/>
                </a:moveTo>
                <a:lnTo>
                  <a:pt x="3121588" y="0"/>
                </a:lnTo>
                <a:lnTo>
                  <a:pt x="3121588" y="1548787"/>
                </a:lnTo>
                <a:lnTo>
                  <a:pt x="0" y="1548787"/>
                </a:lnTo>
                <a:close/>
              </a:path>
            </a:pathLst>
          </a:custGeom>
        </p:spPr>
      </p:pic>
      <p:sp>
        <p:nvSpPr>
          <p:cNvPr id="48" name="Text Placeholder 107">
            <a:extLst>
              <a:ext uri="{FF2B5EF4-FFF2-40B4-BE49-F238E27FC236}">
                <a16:creationId xmlns:a16="http://schemas.microsoft.com/office/drawing/2014/main" id="{1046D7AF-8515-4C5C-A42E-CEB535D1888D}"/>
              </a:ext>
            </a:extLst>
          </p:cNvPr>
          <p:cNvSpPr>
            <a:spLocks noGrp="1"/>
          </p:cNvSpPr>
          <p:nvPr>
            <p:ph type="body" sz="quarter" idx="15" hasCustomPrompt="1"/>
          </p:nvPr>
        </p:nvSpPr>
        <p:spPr>
          <a:xfrm>
            <a:off x="1222031" y="3243313"/>
            <a:ext cx="2990088" cy="274320"/>
          </a:xfrm>
          <a:noFill/>
          <a:ln w="6350">
            <a:noFill/>
          </a:ln>
        </p:spPr>
        <p:txBody>
          <a:bodyPr wrap="square" lIns="0" tIns="0" rIns="0" bIns="0" anchor="ctr">
            <a:noAutofit/>
          </a:bodyPr>
          <a:lstStyle>
            <a:lvl1pPr algn="ctr">
              <a:buNone/>
              <a:defRPr kumimoji="0" lang="en-US" sz="1600" b="0" i="0" u="none" strike="noStrike" kern="0" cap="none" normalizeH="0" dirty="0" smtClean="0">
                <a:ln>
                  <a:noFill/>
                </a:ln>
                <a:solidFill>
                  <a:schemeClr val="tx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
        <p:nvSpPr>
          <p:cNvPr id="49" name="Text Placeholder 107">
            <a:extLst>
              <a:ext uri="{FF2B5EF4-FFF2-40B4-BE49-F238E27FC236}">
                <a16:creationId xmlns:a16="http://schemas.microsoft.com/office/drawing/2014/main" id="{A3B3FFCF-0F15-4864-9709-BBBB31517139}"/>
              </a:ext>
            </a:extLst>
          </p:cNvPr>
          <p:cNvSpPr>
            <a:spLocks noGrp="1"/>
          </p:cNvSpPr>
          <p:nvPr>
            <p:ph type="body" sz="quarter" idx="16" hasCustomPrompt="1"/>
          </p:nvPr>
        </p:nvSpPr>
        <p:spPr>
          <a:xfrm>
            <a:off x="4592248" y="3243313"/>
            <a:ext cx="2990088" cy="274320"/>
          </a:xfrm>
          <a:noFill/>
          <a:ln w="6350">
            <a:noFill/>
          </a:ln>
        </p:spPr>
        <p:txBody>
          <a:bodyPr wrap="square" lIns="0" tIns="0" rIns="0" bIns="0" anchor="ctr">
            <a:noAutofit/>
          </a:bodyPr>
          <a:lstStyle>
            <a:lvl1pPr algn="ctr">
              <a:buNone/>
              <a:defRPr kumimoji="0" lang="en-US" sz="1600" b="0" i="0" u="none" strike="noStrike" kern="0" cap="none" normalizeH="0">
                <a:ln>
                  <a:noFill/>
                </a:ln>
                <a:solidFill>
                  <a:schemeClr val="tx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
        <p:nvSpPr>
          <p:cNvPr id="50" name="Text Placeholder 107">
            <a:extLst>
              <a:ext uri="{FF2B5EF4-FFF2-40B4-BE49-F238E27FC236}">
                <a16:creationId xmlns:a16="http://schemas.microsoft.com/office/drawing/2014/main" id="{49C12F60-7BA3-43B4-A898-3AF3CD9CA8F1}"/>
              </a:ext>
            </a:extLst>
          </p:cNvPr>
          <p:cNvSpPr>
            <a:spLocks noGrp="1"/>
          </p:cNvSpPr>
          <p:nvPr>
            <p:ph type="body" sz="quarter" idx="17" hasCustomPrompt="1"/>
          </p:nvPr>
        </p:nvSpPr>
        <p:spPr>
          <a:xfrm>
            <a:off x="7979882" y="3243313"/>
            <a:ext cx="2990088" cy="274320"/>
          </a:xfrm>
          <a:noFill/>
          <a:ln w="6350">
            <a:noFill/>
          </a:ln>
        </p:spPr>
        <p:txBody>
          <a:bodyPr wrap="square" lIns="0" tIns="0" rIns="0" bIns="0" anchor="ctr">
            <a:noAutofit/>
          </a:bodyPr>
          <a:lstStyle>
            <a:lvl1pPr algn="ctr">
              <a:buNone/>
              <a:defRPr kumimoji="0" lang="en-US" sz="1600" b="0" i="0" u="none" strike="noStrike" kern="0" cap="none" normalizeH="0">
                <a:ln>
                  <a:noFill/>
                </a:ln>
                <a:solidFill>
                  <a:schemeClr val="tx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Tree>
    <p:extLst>
      <p:ext uri="{BB962C8B-B14F-4D97-AF65-F5344CB8AC3E}">
        <p14:creationId xmlns:p14="http://schemas.microsoft.com/office/powerpoint/2010/main" val="40353358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Custom">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BF8934A-EA5A-4171-803F-006B6CB9B3FC}"/>
              </a:ext>
            </a:extLst>
          </p:cNvPr>
          <p:cNvGrpSpPr/>
          <p:nvPr userDrawn="1"/>
        </p:nvGrpSpPr>
        <p:grpSpPr>
          <a:xfrm>
            <a:off x="3206641" y="967343"/>
            <a:ext cx="6860723" cy="6860669"/>
            <a:chOff x="3206641" y="967343"/>
            <a:chExt cx="6860723" cy="6860669"/>
          </a:xfrm>
        </p:grpSpPr>
        <p:sp>
          <p:nvSpPr>
            <p:cNvPr id="18" name="Freeform 89">
              <a:extLst>
                <a:ext uri="{FF2B5EF4-FFF2-40B4-BE49-F238E27FC236}">
                  <a16:creationId xmlns:a16="http://schemas.microsoft.com/office/drawing/2014/main" id="{645B5224-F7D8-47E5-BF92-D5E4F6696B14}"/>
                </a:ext>
              </a:extLst>
            </p:cNvPr>
            <p:cNvSpPr>
              <a:spLocks/>
            </p:cNvSpPr>
            <p:nvPr/>
          </p:nvSpPr>
          <p:spPr bwMode="auto">
            <a:xfrm>
              <a:off x="8721599" y="4582383"/>
              <a:ext cx="1345765" cy="211097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9" name="Freeform 90">
              <a:extLst>
                <a:ext uri="{FF2B5EF4-FFF2-40B4-BE49-F238E27FC236}">
                  <a16:creationId xmlns:a16="http://schemas.microsoft.com/office/drawing/2014/main" id="{50FBDDCD-70F8-4523-BAD1-6585644B3B6F}"/>
                </a:ext>
              </a:extLst>
            </p:cNvPr>
            <p:cNvSpPr>
              <a:spLocks/>
            </p:cNvSpPr>
            <p:nvPr/>
          </p:nvSpPr>
          <p:spPr bwMode="auto">
            <a:xfrm>
              <a:off x="3206641" y="2101998"/>
              <a:ext cx="1398538" cy="211097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0" name="Freeform 91">
              <a:extLst>
                <a:ext uri="{FF2B5EF4-FFF2-40B4-BE49-F238E27FC236}">
                  <a16:creationId xmlns:a16="http://schemas.microsoft.com/office/drawing/2014/main" id="{42E4CD1C-DC98-41C9-8F65-EF21D2643960}"/>
                </a:ext>
              </a:extLst>
            </p:cNvPr>
            <p:cNvSpPr>
              <a:spLocks/>
            </p:cNvSpPr>
            <p:nvPr/>
          </p:nvSpPr>
          <p:spPr bwMode="auto">
            <a:xfrm>
              <a:off x="4367683" y="6429492"/>
              <a:ext cx="2110992" cy="1398520"/>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1" name="Freeform 92">
              <a:extLst>
                <a:ext uri="{FF2B5EF4-FFF2-40B4-BE49-F238E27FC236}">
                  <a16:creationId xmlns:a16="http://schemas.microsoft.com/office/drawing/2014/main" id="{8C847DC8-C10D-472F-8098-ECC5ACC98004}"/>
                </a:ext>
              </a:extLst>
            </p:cNvPr>
            <p:cNvSpPr>
              <a:spLocks/>
            </p:cNvSpPr>
            <p:nvPr/>
          </p:nvSpPr>
          <p:spPr bwMode="auto">
            <a:xfrm>
              <a:off x="3206641" y="4582383"/>
              <a:ext cx="1398538" cy="211097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2" name="Freeform 93">
              <a:extLst>
                <a:ext uri="{FF2B5EF4-FFF2-40B4-BE49-F238E27FC236}">
                  <a16:creationId xmlns:a16="http://schemas.microsoft.com/office/drawing/2014/main" id="{3128C3F1-7992-4227-BA89-2D31DC0CE671}"/>
                </a:ext>
              </a:extLst>
            </p:cNvPr>
            <p:cNvSpPr>
              <a:spLocks/>
            </p:cNvSpPr>
            <p:nvPr/>
          </p:nvSpPr>
          <p:spPr bwMode="auto">
            <a:xfrm>
              <a:off x="8721599" y="2101998"/>
              <a:ext cx="1345765" cy="211097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3" name="Freeform 94">
              <a:extLst>
                <a:ext uri="{FF2B5EF4-FFF2-40B4-BE49-F238E27FC236}">
                  <a16:creationId xmlns:a16="http://schemas.microsoft.com/office/drawing/2014/main" id="{D643D8A8-F538-440E-AE2D-ED66B7B34AEA}"/>
                </a:ext>
              </a:extLst>
            </p:cNvPr>
            <p:cNvSpPr>
              <a:spLocks/>
            </p:cNvSpPr>
            <p:nvPr/>
          </p:nvSpPr>
          <p:spPr bwMode="auto">
            <a:xfrm>
              <a:off x="6821717" y="6429492"/>
              <a:ext cx="2137378" cy="1398520"/>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4" name="Freeform 95">
              <a:extLst>
                <a:ext uri="{FF2B5EF4-FFF2-40B4-BE49-F238E27FC236}">
                  <a16:creationId xmlns:a16="http://schemas.microsoft.com/office/drawing/2014/main" id="{A858EEEB-CE21-40AB-8EC7-B7211FCA7B00}"/>
                </a:ext>
              </a:extLst>
            </p:cNvPr>
            <p:cNvSpPr>
              <a:spLocks/>
            </p:cNvSpPr>
            <p:nvPr/>
          </p:nvSpPr>
          <p:spPr bwMode="auto">
            <a:xfrm>
              <a:off x="6848103" y="967343"/>
              <a:ext cx="2110992" cy="1372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5" name="Freeform 96">
              <a:extLst>
                <a:ext uri="{FF2B5EF4-FFF2-40B4-BE49-F238E27FC236}">
                  <a16:creationId xmlns:a16="http://schemas.microsoft.com/office/drawing/2014/main" id="{A77EC5BB-F08E-40A6-8349-C8D280D29B0D}"/>
                </a:ext>
              </a:extLst>
            </p:cNvPr>
            <p:cNvSpPr>
              <a:spLocks/>
            </p:cNvSpPr>
            <p:nvPr/>
          </p:nvSpPr>
          <p:spPr bwMode="auto">
            <a:xfrm>
              <a:off x="4367683" y="967343"/>
              <a:ext cx="2110992" cy="1372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6" name="Freeform 97">
              <a:extLst>
                <a:ext uri="{FF2B5EF4-FFF2-40B4-BE49-F238E27FC236}">
                  <a16:creationId xmlns:a16="http://schemas.microsoft.com/office/drawing/2014/main" id="{FC941427-75DB-409D-BD91-13733A769A03}"/>
                </a:ext>
              </a:extLst>
            </p:cNvPr>
            <p:cNvSpPr>
              <a:spLocks/>
            </p:cNvSpPr>
            <p:nvPr/>
          </p:nvSpPr>
          <p:spPr bwMode="auto">
            <a:xfrm>
              <a:off x="4842658" y="3157476"/>
              <a:ext cx="3667849" cy="2137360"/>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bg2"/>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R="0" lvl="0" indent="0" algn="ctr" defTabSz="932742" fontAlgn="auto">
                <a:lnSpc>
                  <a:spcPct val="100000"/>
                </a:lnSpc>
                <a:spcBef>
                  <a:spcPct val="0"/>
                </a:spcBef>
                <a:spcAft>
                  <a:spcPts val="0"/>
                </a:spcAft>
                <a:buClrTx/>
                <a:buSzTx/>
                <a:buFontTx/>
                <a:buNone/>
                <a:tabLst/>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62" name="Oval 61">
            <a:extLst>
              <a:ext uri="{FF2B5EF4-FFF2-40B4-BE49-F238E27FC236}">
                <a16:creationId xmlns:a16="http://schemas.microsoft.com/office/drawing/2014/main" id="{BE38AB98-ACB0-4A32-B20E-DDE714F4E3DE}"/>
              </a:ext>
            </a:extLst>
          </p:cNvPr>
          <p:cNvSpPr/>
          <p:nvPr/>
        </p:nvSpPr>
        <p:spPr bwMode="auto">
          <a:xfrm>
            <a:off x="9505296"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sp>
        <p:nvSpPr>
          <p:cNvPr id="67" name="Oval 66">
            <a:extLst>
              <a:ext uri="{FF2B5EF4-FFF2-40B4-BE49-F238E27FC236}">
                <a16:creationId xmlns:a16="http://schemas.microsoft.com/office/drawing/2014/main" id="{9C13C9C4-D7D2-46D8-A1DE-65B4FAA98969}"/>
              </a:ext>
            </a:extLst>
          </p:cNvPr>
          <p:cNvSpPr/>
          <p:nvPr/>
        </p:nvSpPr>
        <p:spPr bwMode="auto">
          <a:xfrm>
            <a:off x="1855619"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sp>
        <p:nvSpPr>
          <p:cNvPr id="78" name="Oval 77">
            <a:extLst>
              <a:ext uri="{FF2B5EF4-FFF2-40B4-BE49-F238E27FC236}">
                <a16:creationId xmlns:a16="http://schemas.microsoft.com/office/drawing/2014/main" id="{D817748A-A9EC-451A-A1E8-FBF046F17ADD}"/>
              </a:ext>
            </a:extLst>
          </p:cNvPr>
          <p:cNvSpPr/>
          <p:nvPr/>
        </p:nvSpPr>
        <p:spPr bwMode="auto">
          <a:xfrm>
            <a:off x="5680457"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sp>
        <p:nvSpPr>
          <p:cNvPr id="108" name="Text Placeholder 107">
            <a:extLst>
              <a:ext uri="{FF2B5EF4-FFF2-40B4-BE49-F238E27FC236}">
                <a16:creationId xmlns:a16="http://schemas.microsoft.com/office/drawing/2014/main" id="{E2D8D62E-4581-434F-ABCC-404FA6AB06C5}"/>
              </a:ext>
            </a:extLst>
          </p:cNvPr>
          <p:cNvSpPr>
            <a:spLocks noGrp="1"/>
          </p:cNvSpPr>
          <p:nvPr>
            <p:ph type="body" sz="quarter" idx="12" hasCustomPrompt="1"/>
          </p:nvPr>
        </p:nvSpPr>
        <p:spPr>
          <a:xfrm>
            <a:off x="670962" y="2625522"/>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09" name="Text Placeholder 107">
            <a:extLst>
              <a:ext uri="{FF2B5EF4-FFF2-40B4-BE49-F238E27FC236}">
                <a16:creationId xmlns:a16="http://schemas.microsoft.com/office/drawing/2014/main" id="{34543432-937F-4263-81E1-EA52BC7D8CBB}"/>
              </a:ext>
            </a:extLst>
          </p:cNvPr>
          <p:cNvSpPr>
            <a:spLocks noGrp="1"/>
          </p:cNvSpPr>
          <p:nvPr>
            <p:ph type="body" sz="quarter" idx="13" hasCustomPrompt="1"/>
          </p:nvPr>
        </p:nvSpPr>
        <p:spPr>
          <a:xfrm>
            <a:off x="4495801" y="2625522"/>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1" name="Text Placeholder 107">
            <a:extLst>
              <a:ext uri="{FF2B5EF4-FFF2-40B4-BE49-F238E27FC236}">
                <a16:creationId xmlns:a16="http://schemas.microsoft.com/office/drawing/2014/main" id="{2ECCF19E-8B80-4567-8DC7-9ACD243CB696}"/>
              </a:ext>
            </a:extLst>
          </p:cNvPr>
          <p:cNvSpPr>
            <a:spLocks noGrp="1"/>
          </p:cNvSpPr>
          <p:nvPr>
            <p:ph type="body" sz="quarter" idx="14" hasCustomPrompt="1"/>
          </p:nvPr>
        </p:nvSpPr>
        <p:spPr>
          <a:xfrm>
            <a:off x="8320639" y="2625522"/>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2" name="Text Placeholder 107">
            <a:extLst>
              <a:ext uri="{FF2B5EF4-FFF2-40B4-BE49-F238E27FC236}">
                <a16:creationId xmlns:a16="http://schemas.microsoft.com/office/drawing/2014/main" id="{A0CBF387-2F0A-436D-AD6E-378ABE79F970}"/>
              </a:ext>
            </a:extLst>
          </p:cNvPr>
          <p:cNvSpPr>
            <a:spLocks noGrp="1"/>
          </p:cNvSpPr>
          <p:nvPr>
            <p:ph type="body" sz="quarter" idx="15" hasCustomPrompt="1"/>
          </p:nvPr>
        </p:nvSpPr>
        <p:spPr>
          <a:xfrm>
            <a:off x="670962" y="3305862"/>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4" name="Text Placeholder 107">
            <a:extLst>
              <a:ext uri="{FF2B5EF4-FFF2-40B4-BE49-F238E27FC236}">
                <a16:creationId xmlns:a16="http://schemas.microsoft.com/office/drawing/2014/main" id="{D4BAA7AB-552C-4DB7-86CF-AB333A89DD32}"/>
              </a:ext>
            </a:extLst>
          </p:cNvPr>
          <p:cNvSpPr>
            <a:spLocks noGrp="1"/>
          </p:cNvSpPr>
          <p:nvPr>
            <p:ph type="body" sz="quarter" idx="16" hasCustomPrompt="1"/>
          </p:nvPr>
        </p:nvSpPr>
        <p:spPr>
          <a:xfrm>
            <a:off x="4495801" y="3305862"/>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5" name="Text Placeholder 107">
            <a:extLst>
              <a:ext uri="{FF2B5EF4-FFF2-40B4-BE49-F238E27FC236}">
                <a16:creationId xmlns:a16="http://schemas.microsoft.com/office/drawing/2014/main" id="{5BC8D97C-E09D-46A6-AAC4-A16B2023649F}"/>
              </a:ext>
            </a:extLst>
          </p:cNvPr>
          <p:cNvSpPr>
            <a:spLocks noGrp="1"/>
          </p:cNvSpPr>
          <p:nvPr>
            <p:ph type="body" sz="quarter" idx="17" hasCustomPrompt="1"/>
          </p:nvPr>
        </p:nvSpPr>
        <p:spPr>
          <a:xfrm>
            <a:off x="8320639" y="3305862"/>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7" name="Slide Number Placeholder 3">
            <a:extLst>
              <a:ext uri="{FF2B5EF4-FFF2-40B4-BE49-F238E27FC236}">
                <a16:creationId xmlns:a16="http://schemas.microsoft.com/office/drawing/2014/main" id="{7D737DFF-8B8F-44B2-934D-028A2F62F9E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4" name="Footer Placeholder 1">
            <a:extLst>
              <a:ext uri="{FF2B5EF4-FFF2-40B4-BE49-F238E27FC236}">
                <a16:creationId xmlns:a16="http://schemas.microsoft.com/office/drawing/2014/main" id="{735C2025-ECB7-4C55-BB41-928411D8455F}"/>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2914536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Front)">
    <p:bg>
      <p:bgRef idx="1001">
        <a:schemeClr val="bg1"/>
      </p:bgRef>
    </p:bg>
    <p:spTree>
      <p:nvGrpSpPr>
        <p:cNvPr id="1" name=""/>
        <p:cNvGrpSpPr/>
        <p:nvPr/>
      </p:nvGrpSpPr>
      <p:grpSpPr>
        <a:xfrm>
          <a:off x="0" y="0"/>
          <a:ext cx="0" cy="0"/>
          <a:chOff x="0" y="0"/>
          <a:chExt cx="0" cy="0"/>
        </a:xfrm>
      </p:grpSpPr>
      <p:pic>
        <p:nvPicPr>
          <p:cNvPr id="28" name="Picture 27" descr="A large brick building&#10;&#10;Description automatically generated">
            <a:extLst>
              <a:ext uri="{FF2B5EF4-FFF2-40B4-BE49-F238E27FC236}">
                <a16:creationId xmlns:a16="http://schemas.microsoft.com/office/drawing/2014/main" id="{BC740077-4F5F-460A-8A83-73D86BDFE2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0"/>
            <a:ext cx="12191999" cy="5076100"/>
          </a:xfrm>
          <a:custGeom>
            <a:avLst/>
            <a:gdLst>
              <a:gd name="connsiteX0" fmla="*/ 0 w 12191999"/>
              <a:gd name="connsiteY0" fmla="*/ 0 h 5076100"/>
              <a:gd name="connsiteX1" fmla="*/ 12191999 w 12191999"/>
              <a:gd name="connsiteY1" fmla="*/ 0 h 5076100"/>
              <a:gd name="connsiteX2" fmla="*/ 12191999 w 12191999"/>
              <a:gd name="connsiteY2" fmla="*/ 5076100 h 5076100"/>
              <a:gd name="connsiteX3" fmla="*/ 0 w 12191999"/>
              <a:gd name="connsiteY3" fmla="*/ 5076100 h 5076100"/>
            </a:gdLst>
            <a:ahLst/>
            <a:cxnLst>
              <a:cxn ang="0">
                <a:pos x="connsiteX0" y="connsiteY0"/>
              </a:cxn>
              <a:cxn ang="0">
                <a:pos x="connsiteX1" y="connsiteY1"/>
              </a:cxn>
              <a:cxn ang="0">
                <a:pos x="connsiteX2" y="connsiteY2"/>
              </a:cxn>
              <a:cxn ang="0">
                <a:pos x="connsiteX3" y="connsiteY3"/>
              </a:cxn>
            </a:cxnLst>
            <a:rect l="l" t="t" r="r" b="b"/>
            <a:pathLst>
              <a:path w="12191999" h="5076100">
                <a:moveTo>
                  <a:pt x="0" y="0"/>
                </a:moveTo>
                <a:lnTo>
                  <a:pt x="12191999" y="0"/>
                </a:lnTo>
                <a:lnTo>
                  <a:pt x="12191999" y="5076100"/>
                </a:lnTo>
                <a:lnTo>
                  <a:pt x="0" y="5076100"/>
                </a:lnTo>
                <a:close/>
              </a:path>
            </a:pathLst>
          </a:custGeom>
        </p:spPr>
      </p:pic>
      <p:sp>
        <p:nvSpPr>
          <p:cNvPr id="17" name="Rectangle 16">
            <a:extLst>
              <a:ext uri="{FF2B5EF4-FFF2-40B4-BE49-F238E27FC236}">
                <a16:creationId xmlns:a16="http://schemas.microsoft.com/office/drawing/2014/main" id="{1D401BE6-7F60-44A1-8A91-D81D804C2FF1}"/>
              </a:ext>
            </a:extLst>
          </p:cNvPr>
          <p:cNvSpPr/>
          <p:nvPr userDrawn="1"/>
        </p:nvSpPr>
        <p:spPr bwMode="auto">
          <a:xfrm>
            <a:off x="-2" y="-1"/>
            <a:ext cx="12192000" cy="5076099"/>
          </a:xfrm>
          <a:prstGeom prst="rect">
            <a:avLst/>
          </a:prstGeom>
          <a:gradFill flip="none" rotWithShape="1">
            <a:gsLst>
              <a:gs pos="29000">
                <a:srgbClr val="000000">
                  <a:alpha val="20000"/>
                </a:srgbClr>
              </a:gs>
              <a:gs pos="0">
                <a:srgbClr val="000000">
                  <a:alpha val="40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688FF6FD-C58D-4D38-9636-00419B9014F5}"/>
              </a:ext>
            </a:extLst>
          </p:cNvPr>
          <p:cNvSpPr/>
          <p:nvPr userDrawn="1"/>
        </p:nvSpPr>
        <p:spPr bwMode="auto">
          <a:xfrm>
            <a:off x="0" y="5076100"/>
            <a:ext cx="12192000" cy="1781899"/>
          </a:xfrm>
          <a:prstGeom prst="rect">
            <a:avLst/>
          </a:pr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8" name="Title 1">
            <a:extLst>
              <a:ext uri="{FF2B5EF4-FFF2-40B4-BE49-F238E27FC236}">
                <a16:creationId xmlns:a16="http://schemas.microsoft.com/office/drawing/2014/main" id="{2F7E2986-6A86-4C7C-B809-C07CD84F3360}"/>
              </a:ext>
            </a:extLst>
          </p:cNvPr>
          <p:cNvSpPr>
            <a:spLocks noGrp="1"/>
          </p:cNvSpPr>
          <p:nvPr>
            <p:ph type="title"/>
          </p:nvPr>
        </p:nvSpPr>
        <p:spPr>
          <a:xfrm>
            <a:off x="880115" y="5296551"/>
            <a:ext cx="11018520" cy="492443"/>
          </a:xfrm>
        </p:spPr>
        <p:txBody>
          <a:bodyPr vert="horz" wrap="square" lIns="0" tIns="0" rIns="0" bIns="0" rtlCol="0">
            <a:spAutoFit/>
          </a:bodyPr>
          <a:lstStyle>
            <a:lvl1pPr>
              <a:defRPr lang="en-IN" sz="32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pic>
        <p:nvPicPr>
          <p:cNvPr id="15" name="Picture 2" descr="Image result for microsoft white logo">
            <a:extLst>
              <a:ext uri="{FF2B5EF4-FFF2-40B4-BE49-F238E27FC236}">
                <a16:creationId xmlns:a16="http://schemas.microsoft.com/office/drawing/2014/main" id="{442DC157-E1F5-4306-A383-0E66A5A343F6}"/>
              </a:ext>
            </a:extLst>
          </p:cNvPr>
          <p:cNvPicPr>
            <a:picLocks noChangeArrowheads="1"/>
          </p:cNvPicPr>
          <p:nvPr userDrawn="1"/>
        </p:nvPicPr>
        <p:blipFill rotWithShape="1">
          <a:blip r:embed="rId3" cstate="hqprint">
            <a:extLst>
              <a:ext uri="{28A0092B-C50C-407E-A947-70E740481C1C}">
                <a14:useLocalDpi xmlns:a14="http://schemas.microsoft.com/office/drawing/2010/main" val="0"/>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BFE70EA0-B181-4089-B8C7-3BB1B5DFBD9A}"/>
              </a:ext>
            </a:extLst>
          </p:cNvPr>
          <p:cNvGrpSpPr/>
          <p:nvPr userDrawn="1"/>
        </p:nvGrpSpPr>
        <p:grpSpPr>
          <a:xfrm>
            <a:off x="152183" y="5450361"/>
            <a:ext cx="601980" cy="601980"/>
            <a:chOff x="997658" y="5928725"/>
            <a:chExt cx="601980" cy="601980"/>
          </a:xfrm>
        </p:grpSpPr>
        <p:sp>
          <p:nvSpPr>
            <p:cNvPr id="37" name="Oval 36">
              <a:extLst>
                <a:ext uri="{FF2B5EF4-FFF2-40B4-BE49-F238E27FC236}">
                  <a16:creationId xmlns:a16="http://schemas.microsoft.com/office/drawing/2014/main" id="{5AC8C939-F307-404F-A1C6-D151591A7ABC}"/>
                </a:ext>
              </a:extLst>
            </p:cNvPr>
            <p:cNvSpPr/>
            <p:nvPr/>
          </p:nvSpPr>
          <p:spPr bwMode="auto">
            <a:xfrm>
              <a:off x="997658" y="5928725"/>
              <a:ext cx="601980" cy="601980"/>
            </a:xfrm>
            <a:prstGeom prst="ellipse">
              <a:avLst/>
            </a:prstGeom>
            <a:no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38" name="data 3" descr="data, cloud, scale">
              <a:extLst>
                <a:ext uri="{FF2B5EF4-FFF2-40B4-BE49-F238E27FC236}">
                  <a16:creationId xmlns:a16="http://schemas.microsoft.com/office/drawing/2014/main" id="{734CACFF-5D83-41FB-A674-107EFD7A6ADE}"/>
                </a:ext>
              </a:extLst>
            </p:cNvPr>
            <p:cNvGrpSpPr>
              <a:grpSpLocks noChangeAspect="1"/>
            </p:cNvGrpSpPr>
            <p:nvPr/>
          </p:nvGrpSpPr>
          <p:grpSpPr bwMode="auto">
            <a:xfrm>
              <a:off x="1100674" y="6032501"/>
              <a:ext cx="395950" cy="394430"/>
              <a:chOff x="5781" y="773"/>
              <a:chExt cx="261" cy="260"/>
            </a:xfrm>
          </p:grpSpPr>
          <p:sp>
            <p:nvSpPr>
              <p:cNvPr id="39" name="AutoShape 87">
                <a:extLst>
                  <a:ext uri="{FF2B5EF4-FFF2-40B4-BE49-F238E27FC236}">
                    <a16:creationId xmlns:a16="http://schemas.microsoft.com/office/drawing/2014/main" id="{647E4122-2F94-460C-AC30-D02C0C05CE14}"/>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89">
                <a:extLst>
                  <a:ext uri="{FF2B5EF4-FFF2-40B4-BE49-F238E27FC236}">
                    <a16:creationId xmlns:a16="http://schemas.microsoft.com/office/drawing/2014/main" id="{1E6178E5-8B86-42D1-986E-7946A0AFF2C9}"/>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90">
                <a:extLst>
                  <a:ext uri="{FF2B5EF4-FFF2-40B4-BE49-F238E27FC236}">
                    <a16:creationId xmlns:a16="http://schemas.microsoft.com/office/drawing/2014/main" id="{E37E8C17-1450-499F-9FE5-68411B6B5081}"/>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91">
                <a:extLst>
                  <a:ext uri="{FF2B5EF4-FFF2-40B4-BE49-F238E27FC236}">
                    <a16:creationId xmlns:a16="http://schemas.microsoft.com/office/drawing/2014/main" id="{07F5F893-8974-492F-8326-E87BEB001FD0}"/>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92">
                <a:extLst>
                  <a:ext uri="{FF2B5EF4-FFF2-40B4-BE49-F238E27FC236}">
                    <a16:creationId xmlns:a16="http://schemas.microsoft.com/office/drawing/2014/main" id="{3D57F4F9-EB6B-45C5-A4B4-9A0604603BEB}"/>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93">
                <a:extLst>
                  <a:ext uri="{FF2B5EF4-FFF2-40B4-BE49-F238E27FC236}">
                    <a16:creationId xmlns:a16="http://schemas.microsoft.com/office/drawing/2014/main" id="{AEA4DE4B-4910-4707-83B8-1BABECE8C3B2}"/>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94">
                <a:extLst>
                  <a:ext uri="{FF2B5EF4-FFF2-40B4-BE49-F238E27FC236}">
                    <a16:creationId xmlns:a16="http://schemas.microsoft.com/office/drawing/2014/main" id="{D27B8DB2-EE14-4B02-A2FD-5D95AA43183C}"/>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95">
                <a:extLst>
                  <a:ext uri="{FF2B5EF4-FFF2-40B4-BE49-F238E27FC236}">
                    <a16:creationId xmlns:a16="http://schemas.microsoft.com/office/drawing/2014/main" id="{B42A6AFE-AFD7-492B-A508-5819D9FADBCC}"/>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96">
                <a:extLst>
                  <a:ext uri="{FF2B5EF4-FFF2-40B4-BE49-F238E27FC236}">
                    <a16:creationId xmlns:a16="http://schemas.microsoft.com/office/drawing/2014/main" id="{050AD86A-175F-433D-8683-3CC16C8014A2}"/>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97">
                <a:extLst>
                  <a:ext uri="{FF2B5EF4-FFF2-40B4-BE49-F238E27FC236}">
                    <a16:creationId xmlns:a16="http://schemas.microsoft.com/office/drawing/2014/main" id="{E6D12FF7-7148-4B94-B4F7-8C9AB82D3024}"/>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386D858E-C040-4CA2-91BC-82C037856A03}"/>
              </a:ext>
            </a:extLst>
          </p:cNvPr>
          <p:cNvGrpSpPr/>
          <p:nvPr userDrawn="1"/>
        </p:nvGrpSpPr>
        <p:grpSpPr>
          <a:xfrm>
            <a:off x="4467225" y="5945950"/>
            <a:ext cx="1307026" cy="417153"/>
            <a:chOff x="4467225" y="5945950"/>
            <a:chExt cx="1307026" cy="417153"/>
          </a:xfrm>
        </p:grpSpPr>
        <p:sp>
          <p:nvSpPr>
            <p:cNvPr id="51" name="Arc 50">
              <a:extLst>
                <a:ext uri="{FF2B5EF4-FFF2-40B4-BE49-F238E27FC236}">
                  <a16:creationId xmlns:a16="http://schemas.microsoft.com/office/drawing/2014/main" id="{8E1AF1DB-46C0-40BE-986D-A76F3FF4F567}"/>
                </a:ext>
              </a:extLst>
            </p:cNvPr>
            <p:cNvSpPr/>
            <p:nvPr/>
          </p:nvSpPr>
          <p:spPr>
            <a:xfrm>
              <a:off x="4467225" y="5945950"/>
              <a:ext cx="1245394" cy="417153"/>
            </a:xfrm>
            <a:prstGeom prst="arc">
              <a:avLst>
                <a:gd name="adj1" fmla="val 16871"/>
                <a:gd name="adj2" fmla="val 10742345"/>
              </a:avLst>
            </a:prstGeom>
            <a:ln w="12700" cap="rnd">
              <a:solidFill>
                <a:srgbClr val="50E6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Isosceles Triangle 51">
              <a:extLst>
                <a:ext uri="{FF2B5EF4-FFF2-40B4-BE49-F238E27FC236}">
                  <a16:creationId xmlns:a16="http://schemas.microsoft.com/office/drawing/2014/main" id="{27A51E8A-451B-4F9D-9C0A-C6BB306D8577}"/>
                </a:ext>
              </a:extLst>
            </p:cNvPr>
            <p:cNvSpPr/>
            <p:nvPr/>
          </p:nvSpPr>
          <p:spPr bwMode="auto">
            <a:xfrm rot="1837160">
              <a:off x="5642559" y="6131270"/>
              <a:ext cx="131692" cy="8502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8A4C10D1-B500-4887-9D2C-7C9A30E6CC7C}"/>
              </a:ext>
            </a:extLst>
          </p:cNvPr>
          <p:cNvSpPr txBox="1"/>
          <p:nvPr userDrawn="1"/>
        </p:nvSpPr>
        <p:spPr>
          <a:xfrm>
            <a:off x="880116" y="5809106"/>
            <a:ext cx="11056686" cy="307777"/>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Build, extend, and enrich a connected experience across data, workflow, and cloud scale analytics</a:t>
            </a:r>
            <a:endParaRPr kumimoji="0" lang="en-US" sz="1400" b="0" i="0" u="none" strike="noStrike" kern="120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173DB29C-DDE2-4C05-983B-34FCA006882B}"/>
              </a:ext>
            </a:extLst>
          </p:cNvPr>
          <p:cNvSpPr>
            <a:spLocks noGrp="1"/>
          </p:cNvSpPr>
          <p:nvPr>
            <p:ph type="body" sz="quarter" idx="10" hasCustomPrompt="1"/>
          </p:nvPr>
        </p:nvSpPr>
        <p:spPr>
          <a:xfrm>
            <a:off x="10218420" y="6404466"/>
            <a:ext cx="1554480" cy="276999"/>
          </a:xfrm>
        </p:spPr>
        <p:txBody>
          <a:bodyPr vert="horz" wrap="square" lIns="0" tIns="0" rIns="0" bIns="0" rtlCol="0">
            <a:spAutoFit/>
          </a:bodyPr>
          <a:lstStyle>
            <a:lvl1pPr>
              <a:buNone/>
              <a:defRPr kumimoji="0" lang="en-US" sz="1800" b="0" i="0" u="none" strike="noStrike" cap="none" normalizeH="0" dirty="0">
                <a:ln>
                  <a:noFill/>
                </a:ln>
                <a:solidFill>
                  <a:srgbClr val="50E6FF"/>
                </a:solidFill>
                <a:effectLst/>
                <a:uLnTx/>
                <a:uFillTx/>
                <a:latin typeface="Segoe UI"/>
              </a:defRPr>
            </a:lvl1pPr>
            <a:lvl2pPr>
              <a:buNone/>
              <a:defRPr lang="en-US" dirty="0" smtClean="0"/>
            </a:lvl2pPr>
            <a:lvl3pPr>
              <a:buNone/>
              <a:defRPr lang="en-US" dirty="0" smtClean="0"/>
            </a:lvl3pPr>
            <a:lvl4pPr>
              <a:buNone/>
              <a:defRPr lang="en-US" dirty="0" smtClean="0"/>
            </a:lvl4pPr>
            <a:lvl5pPr>
              <a:buNone/>
              <a:defRPr lang="en-US" dirty="0"/>
            </a:lvl5pPr>
          </a:lstStyle>
          <a:p>
            <a:pPr marL="0" marR="0" lvl="0" indent="0" algn="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IN" sz="18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Private Preview</a:t>
            </a:r>
          </a:p>
        </p:txBody>
      </p:sp>
      <p:sp>
        <p:nvSpPr>
          <p:cNvPr id="26" name="Footer Placeholder 1">
            <a:extLst>
              <a:ext uri="{FF2B5EF4-FFF2-40B4-BE49-F238E27FC236}">
                <a16:creationId xmlns:a16="http://schemas.microsoft.com/office/drawing/2014/main" id="{B2A93DB5-B37A-4415-8F57-8B8BA65E091B}"/>
              </a:ext>
            </a:extLst>
          </p:cNvPr>
          <p:cNvSpPr txBox="1">
            <a:spLocks/>
          </p:cNvSpPr>
          <p:nvPr userDrawn="1"/>
        </p:nvSpPr>
        <p:spPr>
          <a:xfrm>
            <a:off x="494728" y="6607631"/>
            <a:ext cx="1884935" cy="215444"/>
          </a:xfrm>
          <a:prstGeom prst="rect">
            <a:avLst/>
          </a:prstGeom>
        </p:spPr>
        <p:txBody>
          <a:bodyPr wrap="square">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Tree>
    <p:extLst>
      <p:ext uri="{BB962C8B-B14F-4D97-AF65-F5344CB8AC3E}">
        <p14:creationId xmlns:p14="http://schemas.microsoft.com/office/powerpoint/2010/main" val="3444752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left)">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36">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Cus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112" name="Text Placeholder 107">
            <a:extLst>
              <a:ext uri="{FF2B5EF4-FFF2-40B4-BE49-F238E27FC236}">
                <a16:creationId xmlns:a16="http://schemas.microsoft.com/office/drawing/2014/main" id="{A0CBF387-2F0A-436D-AD6E-378ABE79F970}"/>
              </a:ext>
            </a:extLst>
          </p:cNvPr>
          <p:cNvSpPr>
            <a:spLocks noGrp="1"/>
          </p:cNvSpPr>
          <p:nvPr>
            <p:ph type="body" sz="quarter" idx="15" hasCustomPrompt="1"/>
          </p:nvPr>
        </p:nvSpPr>
        <p:spPr>
          <a:xfrm>
            <a:off x="670962" y="3305863"/>
            <a:ext cx="3200400" cy="1107996"/>
          </a:xfrm>
        </p:spPr>
        <p:txBody>
          <a:bodyPr vert="horz" wrap="square" lIns="0" tIns="0" rIns="0" bIns="0" rtlCol="0">
            <a:spAutoFit/>
          </a:bodyPr>
          <a:lstStyle>
            <a:lvl1pPr algn="ctr">
              <a:buNone/>
              <a:defRPr kumimoji="0" lang="en-US" sz="1800" b="0" i="0" u="none" strike="noStrike" cap="none" normalizeH="0" dirty="0" smtClean="0">
                <a:ln>
                  <a:noFill/>
                </a:ln>
                <a:solidFill>
                  <a:schemeClr val="tx1"/>
                </a:solidFill>
                <a:effectLst/>
                <a:uLnTx/>
                <a:uFillTx/>
                <a:latin typeface="+mn-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588"/>
              </a:spcBef>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a:t>
            </a:r>
          </a:p>
        </p:txBody>
      </p:sp>
      <p:sp>
        <p:nvSpPr>
          <p:cNvPr id="17" name="Slide Number Placeholder 3">
            <a:extLst>
              <a:ext uri="{FF2B5EF4-FFF2-40B4-BE49-F238E27FC236}">
                <a16:creationId xmlns:a16="http://schemas.microsoft.com/office/drawing/2014/main" id="{7D737DFF-8B8F-44B2-934D-028A2F62F9E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4" name="Footer Placeholder 1">
            <a:extLst>
              <a:ext uri="{FF2B5EF4-FFF2-40B4-BE49-F238E27FC236}">
                <a16:creationId xmlns:a16="http://schemas.microsoft.com/office/drawing/2014/main" id="{735C2025-ECB7-4C55-BB41-928411D8455F}"/>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Segoe UI"/>
                <a:ea typeface="+mn-ea"/>
                <a:cs typeface="+mn-cs"/>
              </a:rPr>
              <a:t>© 2020 Microsoft Corporation All rights reserved. </a:t>
            </a:r>
          </a:p>
        </p:txBody>
      </p:sp>
      <p:grpSp>
        <p:nvGrpSpPr>
          <p:cNvPr id="30" name="Group 29">
            <a:extLst>
              <a:ext uri="{FF2B5EF4-FFF2-40B4-BE49-F238E27FC236}">
                <a16:creationId xmlns:a16="http://schemas.microsoft.com/office/drawing/2014/main" id="{AD604CFE-DB79-4E47-85B9-6FCB57145766}"/>
              </a:ext>
            </a:extLst>
          </p:cNvPr>
          <p:cNvGrpSpPr/>
          <p:nvPr userDrawn="1"/>
        </p:nvGrpSpPr>
        <p:grpSpPr>
          <a:xfrm>
            <a:off x="9505296" y="1555981"/>
            <a:ext cx="831086" cy="831086"/>
            <a:chOff x="9505296" y="1772936"/>
            <a:chExt cx="831086" cy="831086"/>
          </a:xfrm>
        </p:grpSpPr>
        <p:sp>
          <p:nvSpPr>
            <p:cNvPr id="31" name="Oval 30">
              <a:extLst>
                <a:ext uri="{FF2B5EF4-FFF2-40B4-BE49-F238E27FC236}">
                  <a16:creationId xmlns:a16="http://schemas.microsoft.com/office/drawing/2014/main" id="{0552D600-BE96-4BDF-8826-1AE79C5D5F0A}"/>
                </a:ext>
              </a:extLst>
            </p:cNvPr>
            <p:cNvSpPr/>
            <p:nvPr/>
          </p:nvSpPr>
          <p:spPr bwMode="auto">
            <a:xfrm>
              <a:off x="9505296" y="1772936"/>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grpSp>
          <p:nvGrpSpPr>
            <p:cNvPr id="32" name="Graphic 247" descr="engineer, assistance">
              <a:extLst>
                <a:ext uri="{FF2B5EF4-FFF2-40B4-BE49-F238E27FC236}">
                  <a16:creationId xmlns:a16="http://schemas.microsoft.com/office/drawing/2014/main" id="{BA8610CA-4D88-45BF-9D62-2D91DE4EAADC}"/>
                </a:ext>
              </a:extLst>
            </p:cNvPr>
            <p:cNvGrpSpPr/>
            <p:nvPr/>
          </p:nvGrpSpPr>
          <p:grpSpPr>
            <a:xfrm>
              <a:off x="9703326" y="1970967"/>
              <a:ext cx="435026" cy="435024"/>
              <a:chOff x="6337562" y="5744951"/>
              <a:chExt cx="435026" cy="435024"/>
            </a:xfrm>
          </p:grpSpPr>
          <p:sp>
            <p:nvSpPr>
              <p:cNvPr id="33" name="Freeform: Shape 32">
                <a:extLst>
                  <a:ext uri="{FF2B5EF4-FFF2-40B4-BE49-F238E27FC236}">
                    <a16:creationId xmlns:a16="http://schemas.microsoft.com/office/drawing/2014/main" id="{357066D6-8FC0-49FB-8B94-06C0AC247CFA}"/>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CC532CC2-C61A-4116-B1AD-5A8A7C3023DE}"/>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39" name="Group 38">
            <a:extLst>
              <a:ext uri="{FF2B5EF4-FFF2-40B4-BE49-F238E27FC236}">
                <a16:creationId xmlns:a16="http://schemas.microsoft.com/office/drawing/2014/main" id="{39F4569F-FE86-4D78-A0A0-02F9C2750AF1}"/>
              </a:ext>
            </a:extLst>
          </p:cNvPr>
          <p:cNvGrpSpPr/>
          <p:nvPr userDrawn="1"/>
        </p:nvGrpSpPr>
        <p:grpSpPr>
          <a:xfrm>
            <a:off x="5680457" y="1555981"/>
            <a:ext cx="831086" cy="831086"/>
            <a:chOff x="5680457" y="1555981"/>
            <a:chExt cx="831086" cy="831086"/>
          </a:xfrm>
        </p:grpSpPr>
        <p:sp>
          <p:nvSpPr>
            <p:cNvPr id="40" name="Oval 39">
              <a:extLst>
                <a:ext uri="{FF2B5EF4-FFF2-40B4-BE49-F238E27FC236}">
                  <a16:creationId xmlns:a16="http://schemas.microsoft.com/office/drawing/2014/main" id="{D9F31F73-BD4B-45AA-BB74-C59D51E1299F}"/>
                </a:ext>
              </a:extLst>
            </p:cNvPr>
            <p:cNvSpPr/>
            <p:nvPr/>
          </p:nvSpPr>
          <p:spPr bwMode="auto">
            <a:xfrm>
              <a:off x="5680457"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grpSp>
          <p:nvGrpSpPr>
            <p:cNvPr id="41" name="Group 32" descr="flexible pricing">
              <a:extLst>
                <a:ext uri="{FF2B5EF4-FFF2-40B4-BE49-F238E27FC236}">
                  <a16:creationId xmlns:a16="http://schemas.microsoft.com/office/drawing/2014/main" id="{EA1C778B-67D6-4FAE-AFA0-7CBAA002988E}"/>
                </a:ext>
              </a:extLst>
            </p:cNvPr>
            <p:cNvGrpSpPr>
              <a:grpSpLocks noChangeAspect="1"/>
            </p:cNvGrpSpPr>
            <p:nvPr/>
          </p:nvGrpSpPr>
          <p:grpSpPr bwMode="auto">
            <a:xfrm>
              <a:off x="5873750" y="1749274"/>
              <a:ext cx="444500" cy="444500"/>
              <a:chOff x="2794" y="763"/>
              <a:chExt cx="280" cy="280"/>
            </a:xfrm>
          </p:grpSpPr>
          <p:sp>
            <p:nvSpPr>
              <p:cNvPr id="42" name="AutoShape 31">
                <a:extLst>
                  <a:ext uri="{FF2B5EF4-FFF2-40B4-BE49-F238E27FC236}">
                    <a16:creationId xmlns:a16="http://schemas.microsoft.com/office/drawing/2014/main" id="{6ED78160-8D53-4D8D-B3E9-0D2C9071C0D3}"/>
                  </a:ext>
                </a:extLst>
              </p:cNvPr>
              <p:cNvSpPr>
                <a:spLocks noChangeAspect="1" noChangeArrowheads="1" noTextEdit="1"/>
              </p:cNvSpPr>
              <p:nvPr/>
            </p:nvSpPr>
            <p:spPr bwMode="auto">
              <a:xfrm>
                <a:off x="2794" y="763"/>
                <a:ext cx="28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3">
                <a:extLst>
                  <a:ext uri="{FF2B5EF4-FFF2-40B4-BE49-F238E27FC236}">
                    <a16:creationId xmlns:a16="http://schemas.microsoft.com/office/drawing/2014/main" id="{B4D4DCC7-FD72-49BD-9B3F-66E076A3BB59}"/>
                  </a:ext>
                </a:extLst>
              </p:cNvPr>
              <p:cNvSpPr>
                <a:spLocks noChangeArrowheads="1"/>
              </p:cNvSpPr>
              <p:nvPr/>
            </p:nvSpPr>
            <p:spPr bwMode="auto">
              <a:xfrm>
                <a:off x="2794" y="837"/>
                <a:ext cx="59" cy="1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34">
                <a:extLst>
                  <a:ext uri="{FF2B5EF4-FFF2-40B4-BE49-F238E27FC236}">
                    <a16:creationId xmlns:a16="http://schemas.microsoft.com/office/drawing/2014/main" id="{86DC407F-A97F-4CBC-944F-F2AF8123FE7A}"/>
                  </a:ext>
                </a:extLst>
              </p:cNvPr>
              <p:cNvSpPr>
                <a:spLocks noChangeArrowheads="1"/>
              </p:cNvSpPr>
              <p:nvPr/>
            </p:nvSpPr>
            <p:spPr bwMode="auto">
              <a:xfrm>
                <a:off x="2868" y="793"/>
                <a:ext cx="59" cy="1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5">
                <a:extLst>
                  <a:ext uri="{FF2B5EF4-FFF2-40B4-BE49-F238E27FC236}">
                    <a16:creationId xmlns:a16="http://schemas.microsoft.com/office/drawing/2014/main" id="{2C0236AD-6DC4-4484-B791-3E124D383EC4}"/>
                  </a:ext>
                </a:extLst>
              </p:cNvPr>
              <p:cNvSpPr>
                <a:spLocks/>
              </p:cNvSpPr>
              <p:nvPr/>
            </p:nvSpPr>
            <p:spPr bwMode="auto">
              <a:xfrm>
                <a:off x="2941" y="763"/>
                <a:ext cx="59" cy="206"/>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6">
                <a:extLst>
                  <a:ext uri="{FF2B5EF4-FFF2-40B4-BE49-F238E27FC236}">
                    <a16:creationId xmlns:a16="http://schemas.microsoft.com/office/drawing/2014/main" id="{C8E2B3F8-0761-4630-B13A-194C8B2A075E}"/>
                  </a:ext>
                </a:extLst>
              </p:cNvPr>
              <p:cNvSpPr>
                <a:spLocks/>
              </p:cNvSpPr>
              <p:nvPr/>
            </p:nvSpPr>
            <p:spPr bwMode="auto">
              <a:xfrm>
                <a:off x="3015" y="910"/>
                <a:ext cx="59" cy="59"/>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7">
                <a:extLst>
                  <a:ext uri="{FF2B5EF4-FFF2-40B4-BE49-F238E27FC236}">
                    <a16:creationId xmlns:a16="http://schemas.microsoft.com/office/drawing/2014/main" id="{B6A6D43F-4A8D-4DE8-B461-5BD350FF7A52}"/>
                  </a:ext>
                </a:extLst>
              </p:cNvPr>
              <p:cNvSpPr>
                <a:spLocks/>
              </p:cNvSpPr>
              <p:nvPr/>
            </p:nvSpPr>
            <p:spPr bwMode="auto">
              <a:xfrm>
                <a:off x="2840" y="984"/>
                <a:ext cx="234" cy="15"/>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38">
                <a:extLst>
                  <a:ext uri="{FF2B5EF4-FFF2-40B4-BE49-F238E27FC236}">
                    <a16:creationId xmlns:a16="http://schemas.microsoft.com/office/drawing/2014/main" id="{E5AA28E9-211A-4056-B90F-F08E73A0BD43}"/>
                  </a:ext>
                </a:extLst>
              </p:cNvPr>
              <p:cNvSpPr>
                <a:spLocks noChangeArrowheads="1"/>
              </p:cNvSpPr>
              <p:nvPr/>
            </p:nvSpPr>
            <p:spPr bwMode="auto">
              <a:xfrm>
                <a:off x="2795" y="911"/>
                <a:ext cx="132" cy="1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9">
                <a:extLst>
                  <a:ext uri="{FF2B5EF4-FFF2-40B4-BE49-F238E27FC236}">
                    <a16:creationId xmlns:a16="http://schemas.microsoft.com/office/drawing/2014/main" id="{FAAFE5CC-AC94-4C4A-A3DF-A6210675564F}"/>
                  </a:ext>
                </a:extLst>
              </p:cNvPr>
              <p:cNvSpPr>
                <a:spLocks noEditPoints="1"/>
              </p:cNvSpPr>
              <p:nvPr/>
            </p:nvSpPr>
            <p:spPr bwMode="auto">
              <a:xfrm>
                <a:off x="2840" y="935"/>
                <a:ext cx="42" cy="80"/>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0" name="Group 49">
            <a:extLst>
              <a:ext uri="{FF2B5EF4-FFF2-40B4-BE49-F238E27FC236}">
                <a16:creationId xmlns:a16="http://schemas.microsoft.com/office/drawing/2014/main" id="{6DE1C50F-AEC8-46E9-892B-D221447C0188}"/>
              </a:ext>
            </a:extLst>
          </p:cNvPr>
          <p:cNvGrpSpPr/>
          <p:nvPr userDrawn="1"/>
        </p:nvGrpSpPr>
        <p:grpSpPr>
          <a:xfrm>
            <a:off x="1855619" y="1555981"/>
            <a:ext cx="831086" cy="831086"/>
            <a:chOff x="1855619" y="1555981"/>
            <a:chExt cx="831086" cy="831086"/>
          </a:xfrm>
        </p:grpSpPr>
        <p:sp>
          <p:nvSpPr>
            <p:cNvPr id="51" name="Oval 50">
              <a:extLst>
                <a:ext uri="{FF2B5EF4-FFF2-40B4-BE49-F238E27FC236}">
                  <a16:creationId xmlns:a16="http://schemas.microsoft.com/office/drawing/2014/main" id="{B97C5D0D-BBBF-4B45-A55E-1CF350FA7A11}"/>
                </a:ext>
              </a:extLst>
            </p:cNvPr>
            <p:cNvSpPr/>
            <p:nvPr/>
          </p:nvSpPr>
          <p:spPr bwMode="auto">
            <a:xfrm>
              <a:off x="1855619"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cs typeface="Segoe UI" pitchFamily="34" charset="0"/>
              </a:endParaRPr>
            </a:p>
          </p:txBody>
        </p:sp>
        <p:grpSp>
          <p:nvGrpSpPr>
            <p:cNvPr id="52" name="Graphic 188" descr="profit margin, financial">
              <a:extLst>
                <a:ext uri="{FF2B5EF4-FFF2-40B4-BE49-F238E27FC236}">
                  <a16:creationId xmlns:a16="http://schemas.microsoft.com/office/drawing/2014/main" id="{20DC7D70-CE17-4BCA-8D10-47E6437121FB}"/>
                </a:ext>
              </a:extLst>
            </p:cNvPr>
            <p:cNvGrpSpPr/>
            <p:nvPr/>
          </p:nvGrpSpPr>
          <p:grpSpPr>
            <a:xfrm>
              <a:off x="2065422" y="1765784"/>
              <a:ext cx="411480" cy="411480"/>
              <a:chOff x="689193" y="3013983"/>
              <a:chExt cx="411480" cy="411480"/>
            </a:xfrm>
          </p:grpSpPr>
          <p:sp>
            <p:nvSpPr>
              <p:cNvPr id="53" name="Freeform: Shape 52">
                <a:extLst>
                  <a:ext uri="{FF2B5EF4-FFF2-40B4-BE49-F238E27FC236}">
                    <a16:creationId xmlns:a16="http://schemas.microsoft.com/office/drawing/2014/main" id="{78F674D3-0184-4FA6-9A19-BD9783BB2530}"/>
                  </a:ext>
                </a:extLst>
              </p:cNvPr>
              <p:cNvSpPr/>
              <p:nvPr/>
            </p:nvSpPr>
            <p:spPr>
              <a:xfrm>
                <a:off x="689291" y="3014694"/>
                <a:ext cx="203619" cy="305428"/>
              </a:xfrm>
              <a:custGeom>
                <a:avLst/>
                <a:gdLst>
                  <a:gd name="connsiteX0" fmla="*/ 39589 w 203618"/>
                  <a:gd name="connsiteY0" fmla="*/ 204181 h 305428"/>
                  <a:gd name="connsiteX1" fmla="*/ 204605 w 203618"/>
                  <a:gd name="connsiteY1" fmla="*/ 39589 h 305428"/>
                  <a:gd name="connsiteX2" fmla="*/ 205029 w 203618"/>
                  <a:gd name="connsiteY2" fmla="*/ 39589 h 305428"/>
                  <a:gd name="connsiteX3" fmla="*/ 205029 w 203618"/>
                  <a:gd name="connsiteY3" fmla="*/ 1410 h 305428"/>
                  <a:gd name="connsiteX4" fmla="*/ 29408 w 203618"/>
                  <a:gd name="connsiteY4" fmla="*/ 102796 h 305428"/>
                  <a:gd name="connsiteX5" fmla="*/ 29408 w 203618"/>
                  <a:gd name="connsiteY5" fmla="*/ 305566 h 305428"/>
                  <a:gd name="connsiteX6" fmla="*/ 61648 w 203618"/>
                  <a:gd name="connsiteY6" fmla="*/ 286901 h 305428"/>
                  <a:gd name="connsiteX7" fmla="*/ 39589 w 203618"/>
                  <a:gd name="connsiteY7" fmla="*/ 204181 h 30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18" h="305428">
                    <a:moveTo>
                      <a:pt x="39589" y="204181"/>
                    </a:moveTo>
                    <a:cubicBezTo>
                      <a:pt x="39589" y="113401"/>
                      <a:pt x="113401" y="39589"/>
                      <a:pt x="204605" y="39589"/>
                    </a:cubicBezTo>
                    <a:lnTo>
                      <a:pt x="205029" y="39589"/>
                    </a:lnTo>
                    <a:lnTo>
                      <a:pt x="205029" y="1410"/>
                    </a:lnTo>
                    <a:cubicBezTo>
                      <a:pt x="130369" y="1410"/>
                      <a:pt x="66738" y="38316"/>
                      <a:pt x="29408" y="102796"/>
                    </a:cubicBezTo>
                    <a:cubicBezTo>
                      <a:pt x="-7922" y="167275"/>
                      <a:pt x="-7922" y="241087"/>
                      <a:pt x="29408" y="305566"/>
                    </a:cubicBezTo>
                    <a:lnTo>
                      <a:pt x="61648" y="286901"/>
                    </a:lnTo>
                    <a:cubicBezTo>
                      <a:pt x="47649" y="262721"/>
                      <a:pt x="39589" y="234300"/>
                      <a:pt x="39589" y="204181"/>
                    </a:cubicBezTo>
                    <a:close/>
                  </a:path>
                </a:pathLst>
              </a:custGeom>
              <a:solidFill>
                <a:srgbClr val="50E6FF"/>
              </a:solidFill>
              <a:ln w="4222"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2CB2D820-6081-4C92-A3D9-397666DAE4DC}"/>
                  </a:ext>
                </a:extLst>
              </p:cNvPr>
              <p:cNvSpPr/>
              <p:nvPr/>
            </p:nvSpPr>
            <p:spPr>
              <a:xfrm>
                <a:off x="717709" y="3014694"/>
                <a:ext cx="377544" cy="407238"/>
              </a:xfrm>
              <a:custGeom>
                <a:avLst/>
                <a:gdLst>
                  <a:gd name="connsiteX0" fmla="*/ 176608 w 377543"/>
                  <a:gd name="connsiteY0" fmla="*/ 1410 h 407237"/>
                  <a:gd name="connsiteX1" fmla="*/ 176608 w 377543"/>
                  <a:gd name="connsiteY1" fmla="*/ 39589 h 407237"/>
                  <a:gd name="connsiteX2" fmla="*/ 341200 w 377543"/>
                  <a:gd name="connsiteY2" fmla="*/ 204605 h 407237"/>
                  <a:gd name="connsiteX3" fmla="*/ 176183 w 377543"/>
                  <a:gd name="connsiteY3" fmla="*/ 369621 h 407237"/>
                  <a:gd name="connsiteX4" fmla="*/ 33650 w 377543"/>
                  <a:gd name="connsiteY4" fmla="*/ 287325 h 407237"/>
                  <a:gd name="connsiteX5" fmla="*/ 1410 w 377543"/>
                  <a:gd name="connsiteY5" fmla="*/ 305990 h 407237"/>
                  <a:gd name="connsiteX6" fmla="*/ 176608 w 377543"/>
                  <a:gd name="connsiteY6" fmla="*/ 407376 h 407237"/>
                  <a:gd name="connsiteX7" fmla="*/ 378954 w 377543"/>
                  <a:gd name="connsiteY7" fmla="*/ 204605 h 407237"/>
                  <a:gd name="connsiteX8" fmla="*/ 176608 w 377543"/>
                  <a:gd name="connsiteY8" fmla="*/ 1410 h 40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43" h="407237">
                    <a:moveTo>
                      <a:pt x="176608" y="1410"/>
                    </a:moveTo>
                    <a:lnTo>
                      <a:pt x="176608" y="39589"/>
                    </a:lnTo>
                    <a:cubicBezTo>
                      <a:pt x="267388" y="39589"/>
                      <a:pt x="341200" y="113401"/>
                      <a:pt x="341200" y="204605"/>
                    </a:cubicBezTo>
                    <a:cubicBezTo>
                      <a:pt x="341200" y="295809"/>
                      <a:pt x="267388" y="369621"/>
                      <a:pt x="176183" y="369621"/>
                    </a:cubicBezTo>
                    <a:cubicBezTo>
                      <a:pt x="115098" y="369621"/>
                      <a:pt x="62072" y="336533"/>
                      <a:pt x="33650" y="287325"/>
                    </a:cubicBezTo>
                    <a:lnTo>
                      <a:pt x="1410" y="305990"/>
                    </a:lnTo>
                    <a:cubicBezTo>
                      <a:pt x="38316" y="370470"/>
                      <a:pt x="101947" y="407376"/>
                      <a:pt x="176608" y="407376"/>
                    </a:cubicBezTo>
                    <a:cubicBezTo>
                      <a:pt x="288598" y="407376"/>
                      <a:pt x="378954" y="316596"/>
                      <a:pt x="378954" y="204605"/>
                    </a:cubicBezTo>
                    <a:cubicBezTo>
                      <a:pt x="378954" y="92191"/>
                      <a:pt x="288174" y="1410"/>
                      <a:pt x="176608" y="1410"/>
                    </a:cubicBezTo>
                    <a:close/>
                  </a:path>
                </a:pathLst>
              </a:custGeom>
              <a:solidFill>
                <a:srgbClr val="0078D4"/>
              </a:solidFill>
              <a:ln w="4222"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352E0FE2-C6E6-4DA3-9D67-45A29E7E7032}"/>
                  </a:ext>
                </a:extLst>
              </p:cNvPr>
              <p:cNvSpPr/>
              <p:nvPr/>
            </p:nvSpPr>
            <p:spPr>
              <a:xfrm>
                <a:off x="717287" y="3300188"/>
                <a:ext cx="33936" cy="21210"/>
              </a:xfrm>
              <a:custGeom>
                <a:avLst/>
                <a:gdLst>
                  <a:gd name="connsiteX0" fmla="*/ 34074 w 33936"/>
                  <a:gd name="connsiteY0" fmla="*/ 1410 h 21210"/>
                  <a:gd name="connsiteX1" fmla="*/ 1410 w 33936"/>
                  <a:gd name="connsiteY1" fmla="*/ 20075 h 21210"/>
                  <a:gd name="connsiteX2" fmla="*/ 34074 w 33936"/>
                  <a:gd name="connsiteY2" fmla="*/ 1410 h 21210"/>
                </a:gdLst>
                <a:ahLst/>
                <a:cxnLst>
                  <a:cxn ang="0">
                    <a:pos x="connsiteX0" y="connsiteY0"/>
                  </a:cxn>
                  <a:cxn ang="0">
                    <a:pos x="connsiteX1" y="connsiteY1"/>
                  </a:cxn>
                  <a:cxn ang="0">
                    <a:pos x="connsiteX2" y="connsiteY2"/>
                  </a:cxn>
                </a:cxnLst>
                <a:rect l="l" t="t" r="r" b="b"/>
                <a:pathLst>
                  <a:path w="33936" h="21210">
                    <a:moveTo>
                      <a:pt x="34074" y="1410"/>
                    </a:moveTo>
                    <a:lnTo>
                      <a:pt x="1410" y="20075"/>
                    </a:lnTo>
                    <a:lnTo>
                      <a:pt x="34074" y="1410"/>
                    </a:lnTo>
                    <a:close/>
                  </a:path>
                </a:pathLst>
              </a:custGeom>
              <a:solidFill>
                <a:srgbClr val="0078D4"/>
              </a:solidFill>
              <a:ln w="4222"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2196E03E-1170-4E6D-8DED-DBD2FE8D8E78}"/>
                  </a:ext>
                </a:extLst>
              </p:cNvPr>
              <p:cNvSpPr/>
              <p:nvPr/>
            </p:nvSpPr>
            <p:spPr>
              <a:xfrm>
                <a:off x="841578" y="3120745"/>
                <a:ext cx="101809" cy="195135"/>
              </a:xfrm>
              <a:custGeom>
                <a:avLst/>
                <a:gdLst>
                  <a:gd name="connsiteX0" fmla="*/ 74798 w 101809"/>
                  <a:gd name="connsiteY0" fmla="*/ 132066 h 195134"/>
                  <a:gd name="connsiteX1" fmla="*/ 59527 w 101809"/>
                  <a:gd name="connsiteY1" fmla="*/ 115098 h 195134"/>
                  <a:gd name="connsiteX2" fmla="*/ 59527 w 101809"/>
                  <a:gd name="connsiteY2" fmla="*/ 146913 h 195134"/>
                  <a:gd name="connsiteX3" fmla="*/ 74798 w 101809"/>
                  <a:gd name="connsiteY3" fmla="*/ 132066 h 195134"/>
                  <a:gd name="connsiteX4" fmla="*/ 44255 w 101809"/>
                  <a:gd name="connsiteY4" fmla="*/ 79464 h 195134"/>
                  <a:gd name="connsiteX5" fmla="*/ 44255 w 101809"/>
                  <a:gd name="connsiteY5" fmla="*/ 45952 h 195134"/>
                  <a:gd name="connsiteX6" fmla="*/ 29408 w 101809"/>
                  <a:gd name="connsiteY6" fmla="*/ 61223 h 195134"/>
                  <a:gd name="connsiteX7" fmla="*/ 44255 w 101809"/>
                  <a:gd name="connsiteY7" fmla="*/ 79464 h 195134"/>
                  <a:gd name="connsiteX8" fmla="*/ 102796 w 101809"/>
                  <a:gd name="connsiteY8" fmla="*/ 130793 h 195134"/>
                  <a:gd name="connsiteX9" fmla="*/ 91766 w 101809"/>
                  <a:gd name="connsiteY9" fmla="*/ 159215 h 195134"/>
                  <a:gd name="connsiteX10" fmla="*/ 59527 w 101809"/>
                  <a:gd name="connsiteY10" fmla="*/ 172365 h 195134"/>
                  <a:gd name="connsiteX11" fmla="*/ 59527 w 101809"/>
                  <a:gd name="connsiteY11" fmla="*/ 195273 h 195134"/>
                  <a:gd name="connsiteX12" fmla="*/ 44255 w 101809"/>
                  <a:gd name="connsiteY12" fmla="*/ 195273 h 195134"/>
                  <a:gd name="connsiteX13" fmla="*/ 44255 w 101809"/>
                  <a:gd name="connsiteY13" fmla="*/ 172790 h 195134"/>
                  <a:gd name="connsiteX14" fmla="*/ 4380 w 101809"/>
                  <a:gd name="connsiteY14" fmla="*/ 163033 h 195134"/>
                  <a:gd name="connsiteX15" fmla="*/ 4380 w 101809"/>
                  <a:gd name="connsiteY15" fmla="*/ 133763 h 195134"/>
                  <a:gd name="connsiteX16" fmla="*/ 22621 w 101809"/>
                  <a:gd name="connsiteY16" fmla="*/ 142671 h 195134"/>
                  <a:gd name="connsiteX17" fmla="*/ 44255 w 101809"/>
                  <a:gd name="connsiteY17" fmla="*/ 147762 h 195134"/>
                  <a:gd name="connsiteX18" fmla="*/ 44255 w 101809"/>
                  <a:gd name="connsiteY18" fmla="*/ 109159 h 195134"/>
                  <a:gd name="connsiteX19" fmla="*/ 11167 w 101809"/>
                  <a:gd name="connsiteY19" fmla="*/ 90069 h 195134"/>
                  <a:gd name="connsiteX20" fmla="*/ 1410 w 101809"/>
                  <a:gd name="connsiteY20" fmla="*/ 62920 h 195134"/>
                  <a:gd name="connsiteX21" fmla="*/ 13288 w 101809"/>
                  <a:gd name="connsiteY21" fmla="*/ 34498 h 195134"/>
                  <a:gd name="connsiteX22" fmla="*/ 44255 w 101809"/>
                  <a:gd name="connsiteY22" fmla="*/ 20924 h 195134"/>
                  <a:gd name="connsiteX23" fmla="*/ 44255 w 101809"/>
                  <a:gd name="connsiteY23" fmla="*/ 1410 h 195134"/>
                  <a:gd name="connsiteX24" fmla="*/ 59527 w 101809"/>
                  <a:gd name="connsiteY24" fmla="*/ 1410 h 195134"/>
                  <a:gd name="connsiteX25" fmla="*/ 59527 w 101809"/>
                  <a:gd name="connsiteY25" fmla="*/ 20500 h 195134"/>
                  <a:gd name="connsiteX26" fmla="*/ 92615 w 101809"/>
                  <a:gd name="connsiteY26" fmla="*/ 27711 h 195134"/>
                  <a:gd name="connsiteX27" fmla="*/ 92615 w 101809"/>
                  <a:gd name="connsiteY27" fmla="*/ 56557 h 195134"/>
                  <a:gd name="connsiteX28" fmla="*/ 59527 w 101809"/>
                  <a:gd name="connsiteY28" fmla="*/ 45528 h 195134"/>
                  <a:gd name="connsiteX29" fmla="*/ 59527 w 101809"/>
                  <a:gd name="connsiteY29" fmla="*/ 85403 h 195134"/>
                  <a:gd name="connsiteX30" fmla="*/ 92615 w 101809"/>
                  <a:gd name="connsiteY30" fmla="*/ 104492 h 195134"/>
                  <a:gd name="connsiteX31" fmla="*/ 102796 w 101809"/>
                  <a:gd name="connsiteY31" fmla="*/ 130793 h 19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5134">
                    <a:moveTo>
                      <a:pt x="74798" y="132066"/>
                    </a:moveTo>
                    <a:cubicBezTo>
                      <a:pt x="74798" y="125279"/>
                      <a:pt x="69708" y="119764"/>
                      <a:pt x="59527" y="115098"/>
                    </a:cubicBezTo>
                    <a:lnTo>
                      <a:pt x="59527" y="146913"/>
                    </a:lnTo>
                    <a:cubicBezTo>
                      <a:pt x="69708" y="145640"/>
                      <a:pt x="74798" y="140550"/>
                      <a:pt x="74798" y="132066"/>
                    </a:cubicBezTo>
                    <a:close/>
                    <a:moveTo>
                      <a:pt x="44255" y="79464"/>
                    </a:moveTo>
                    <a:lnTo>
                      <a:pt x="44255" y="45952"/>
                    </a:lnTo>
                    <a:cubicBezTo>
                      <a:pt x="34498" y="47649"/>
                      <a:pt x="29408" y="52739"/>
                      <a:pt x="29408" y="61223"/>
                    </a:cubicBezTo>
                    <a:cubicBezTo>
                      <a:pt x="29408" y="68859"/>
                      <a:pt x="34498" y="74798"/>
                      <a:pt x="44255" y="79464"/>
                    </a:cubicBezTo>
                    <a:close/>
                    <a:moveTo>
                      <a:pt x="102796" y="130793"/>
                    </a:moveTo>
                    <a:cubicBezTo>
                      <a:pt x="102796" y="142671"/>
                      <a:pt x="98978" y="152004"/>
                      <a:pt x="91766" y="159215"/>
                    </a:cubicBezTo>
                    <a:cubicBezTo>
                      <a:pt x="84555" y="166427"/>
                      <a:pt x="73525" y="170669"/>
                      <a:pt x="59527" y="172365"/>
                    </a:cubicBezTo>
                    <a:lnTo>
                      <a:pt x="59527" y="195273"/>
                    </a:lnTo>
                    <a:lnTo>
                      <a:pt x="44255" y="195273"/>
                    </a:lnTo>
                    <a:lnTo>
                      <a:pt x="44255" y="172790"/>
                    </a:lnTo>
                    <a:cubicBezTo>
                      <a:pt x="29832" y="172790"/>
                      <a:pt x="16258" y="169396"/>
                      <a:pt x="4380" y="163033"/>
                    </a:cubicBezTo>
                    <a:lnTo>
                      <a:pt x="4380" y="133763"/>
                    </a:lnTo>
                    <a:cubicBezTo>
                      <a:pt x="8198" y="136732"/>
                      <a:pt x="14137" y="139702"/>
                      <a:pt x="22621" y="142671"/>
                    </a:cubicBezTo>
                    <a:cubicBezTo>
                      <a:pt x="31105" y="145640"/>
                      <a:pt x="38316" y="147337"/>
                      <a:pt x="44255" y="147762"/>
                    </a:cubicBezTo>
                    <a:lnTo>
                      <a:pt x="44255" y="109159"/>
                    </a:lnTo>
                    <a:cubicBezTo>
                      <a:pt x="28560" y="103220"/>
                      <a:pt x="17530" y="96857"/>
                      <a:pt x="11167" y="90069"/>
                    </a:cubicBezTo>
                    <a:cubicBezTo>
                      <a:pt x="4804" y="83282"/>
                      <a:pt x="1410" y="74374"/>
                      <a:pt x="1410" y="62920"/>
                    </a:cubicBezTo>
                    <a:cubicBezTo>
                      <a:pt x="1410" y="51891"/>
                      <a:pt x="5228" y="42134"/>
                      <a:pt x="13288" y="34498"/>
                    </a:cubicBezTo>
                    <a:cubicBezTo>
                      <a:pt x="21348" y="26863"/>
                      <a:pt x="31529" y="22196"/>
                      <a:pt x="44255" y="20924"/>
                    </a:cubicBezTo>
                    <a:lnTo>
                      <a:pt x="44255" y="1410"/>
                    </a:lnTo>
                    <a:lnTo>
                      <a:pt x="59527" y="1410"/>
                    </a:lnTo>
                    <a:lnTo>
                      <a:pt x="59527" y="20500"/>
                    </a:lnTo>
                    <a:cubicBezTo>
                      <a:pt x="74374" y="21348"/>
                      <a:pt x="85403" y="23469"/>
                      <a:pt x="92615" y="27711"/>
                    </a:cubicBezTo>
                    <a:lnTo>
                      <a:pt x="92615" y="56557"/>
                    </a:lnTo>
                    <a:cubicBezTo>
                      <a:pt x="82858" y="50618"/>
                      <a:pt x="71829" y="46800"/>
                      <a:pt x="59527" y="45528"/>
                    </a:cubicBezTo>
                    <a:lnTo>
                      <a:pt x="59527" y="85403"/>
                    </a:lnTo>
                    <a:cubicBezTo>
                      <a:pt x="75222" y="90918"/>
                      <a:pt x="86252" y="97281"/>
                      <a:pt x="92615" y="104492"/>
                    </a:cubicBezTo>
                    <a:cubicBezTo>
                      <a:pt x="99826" y="111704"/>
                      <a:pt x="102796" y="120188"/>
                      <a:pt x="102796" y="130793"/>
                    </a:cubicBezTo>
                    <a:close/>
                  </a:path>
                </a:pathLst>
              </a:custGeom>
              <a:solidFill>
                <a:srgbClr val="0078D4"/>
              </a:solidFill>
              <a:ln w="4222" cap="flat">
                <a:noFill/>
                <a:prstDash val="solid"/>
                <a:miter/>
              </a:ln>
            </p:spPr>
            <p:txBody>
              <a:bodyPr rtlCol="0" anchor="ctr"/>
              <a:lstStyle/>
              <a:p>
                <a:endParaRPr lang="en-US"/>
              </a:p>
            </p:txBody>
          </p:sp>
        </p:grpSp>
      </p:grpSp>
      <p:sp>
        <p:nvSpPr>
          <p:cNvPr id="57" name="Text Placeholder 107">
            <a:extLst>
              <a:ext uri="{FF2B5EF4-FFF2-40B4-BE49-F238E27FC236}">
                <a16:creationId xmlns:a16="http://schemas.microsoft.com/office/drawing/2014/main" id="{81548CD8-195E-413D-A9A6-5C6DBC0F3D79}"/>
              </a:ext>
            </a:extLst>
          </p:cNvPr>
          <p:cNvSpPr>
            <a:spLocks noGrp="1"/>
          </p:cNvSpPr>
          <p:nvPr>
            <p:ph type="body" sz="quarter" idx="18" hasCustomPrompt="1"/>
          </p:nvPr>
        </p:nvSpPr>
        <p:spPr>
          <a:xfrm>
            <a:off x="4495801" y="3305863"/>
            <a:ext cx="3200400" cy="1107996"/>
          </a:xfrm>
        </p:spPr>
        <p:txBody>
          <a:bodyPr vert="horz" wrap="square" lIns="0" tIns="0" rIns="0" bIns="0" rtlCol="0">
            <a:spAutoFit/>
          </a:bodyPr>
          <a:lstStyle>
            <a:lvl1pPr algn="ctr">
              <a:buNone/>
              <a:defRPr kumimoji="0" lang="en-US" sz="1800" b="0" i="0" u="none" strike="noStrike" cap="none" normalizeH="0" dirty="0" smtClean="0">
                <a:ln>
                  <a:noFill/>
                </a:ln>
                <a:solidFill>
                  <a:schemeClr val="tx1"/>
                </a:solidFill>
                <a:effectLst/>
                <a:uLnTx/>
                <a:uFillTx/>
                <a:latin typeface="+mn-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588"/>
              </a:spcBef>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a:t>
            </a:r>
          </a:p>
        </p:txBody>
      </p:sp>
      <p:sp>
        <p:nvSpPr>
          <p:cNvPr id="58" name="Text Placeholder 107">
            <a:extLst>
              <a:ext uri="{FF2B5EF4-FFF2-40B4-BE49-F238E27FC236}">
                <a16:creationId xmlns:a16="http://schemas.microsoft.com/office/drawing/2014/main" id="{29CF9A25-2914-4DDE-9E3C-C0A8D5CAD895}"/>
              </a:ext>
            </a:extLst>
          </p:cNvPr>
          <p:cNvSpPr>
            <a:spLocks noGrp="1"/>
          </p:cNvSpPr>
          <p:nvPr>
            <p:ph type="body" sz="quarter" idx="19" hasCustomPrompt="1"/>
          </p:nvPr>
        </p:nvSpPr>
        <p:spPr>
          <a:xfrm>
            <a:off x="8320639" y="3305863"/>
            <a:ext cx="3200400" cy="1107996"/>
          </a:xfrm>
        </p:spPr>
        <p:txBody>
          <a:bodyPr vert="horz" wrap="square" lIns="0" tIns="0" rIns="0" bIns="0" rtlCol="0">
            <a:spAutoFit/>
          </a:bodyPr>
          <a:lstStyle>
            <a:lvl1pPr algn="ctr">
              <a:buNone/>
              <a:defRPr kumimoji="0" lang="en-US" sz="1800" b="0" i="0" u="none" strike="noStrike" cap="none" normalizeH="0" dirty="0" smtClean="0">
                <a:ln>
                  <a:noFill/>
                </a:ln>
                <a:solidFill>
                  <a:schemeClr val="tx1"/>
                </a:solidFill>
                <a:effectLst/>
                <a:uLnTx/>
                <a:uFillTx/>
                <a:latin typeface="+mn-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588"/>
              </a:spcBef>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a:t>
            </a:r>
          </a:p>
        </p:txBody>
      </p:sp>
      <p:sp>
        <p:nvSpPr>
          <p:cNvPr id="60" name="Text Placeholder 107">
            <a:extLst>
              <a:ext uri="{FF2B5EF4-FFF2-40B4-BE49-F238E27FC236}">
                <a16:creationId xmlns:a16="http://schemas.microsoft.com/office/drawing/2014/main" id="{4B2291AD-6781-47C6-8F81-7759DFA8BE31}"/>
              </a:ext>
            </a:extLst>
          </p:cNvPr>
          <p:cNvSpPr>
            <a:spLocks noGrp="1"/>
          </p:cNvSpPr>
          <p:nvPr>
            <p:ph type="body" sz="quarter" idx="20" hasCustomPrompt="1"/>
          </p:nvPr>
        </p:nvSpPr>
        <p:spPr>
          <a:xfrm>
            <a:off x="670962" y="2625522"/>
            <a:ext cx="3200400" cy="615553"/>
          </a:xfrm>
        </p:spPr>
        <p:txBody>
          <a:bodyPr wrap="square" lIns="0" tIns="0" rIns="0" bIns="0">
            <a:spAutoFit/>
          </a:bodyPr>
          <a:lstStyle>
            <a:lvl1pPr marL="0" indent="0"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Lorem ipsum dolor sit </a:t>
            </a:r>
            <a:r>
              <a:rPr lang="en-US" err="1"/>
              <a:t>amet</a:t>
            </a:r>
            <a:r>
              <a:rPr lang="en-US"/>
              <a:t>, </a:t>
            </a:r>
            <a:r>
              <a:rPr lang="en-US" err="1"/>
              <a:t>consectetur</a:t>
            </a:r>
            <a:endParaRPr lang="en-US"/>
          </a:p>
        </p:txBody>
      </p:sp>
      <p:sp>
        <p:nvSpPr>
          <p:cNvPr id="61" name="Text Placeholder 107">
            <a:extLst>
              <a:ext uri="{FF2B5EF4-FFF2-40B4-BE49-F238E27FC236}">
                <a16:creationId xmlns:a16="http://schemas.microsoft.com/office/drawing/2014/main" id="{7229A0E8-ECB1-4B3C-ABC5-9FFE0B43DE9F}"/>
              </a:ext>
            </a:extLst>
          </p:cNvPr>
          <p:cNvSpPr>
            <a:spLocks noGrp="1"/>
          </p:cNvSpPr>
          <p:nvPr>
            <p:ph type="body" sz="quarter" idx="21" hasCustomPrompt="1"/>
          </p:nvPr>
        </p:nvSpPr>
        <p:spPr>
          <a:xfrm>
            <a:off x="4495801" y="2625522"/>
            <a:ext cx="3200400" cy="615553"/>
          </a:xfrm>
        </p:spPr>
        <p:txBody>
          <a:bodyPr wrap="square" lIns="0" tIns="0" rIns="0" bIns="0">
            <a:spAutoFit/>
          </a:bodyPr>
          <a:lstStyle>
            <a:lvl1pPr marL="0" indent="0"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Lorem ipsum dolor sit </a:t>
            </a:r>
            <a:r>
              <a:rPr lang="en-US" err="1"/>
              <a:t>amet</a:t>
            </a:r>
            <a:r>
              <a:rPr lang="en-US"/>
              <a:t>, </a:t>
            </a:r>
            <a:r>
              <a:rPr lang="en-US" err="1"/>
              <a:t>consectetur</a:t>
            </a:r>
            <a:endParaRPr lang="en-US"/>
          </a:p>
        </p:txBody>
      </p:sp>
      <p:sp>
        <p:nvSpPr>
          <p:cNvPr id="62" name="Text Placeholder 107">
            <a:extLst>
              <a:ext uri="{FF2B5EF4-FFF2-40B4-BE49-F238E27FC236}">
                <a16:creationId xmlns:a16="http://schemas.microsoft.com/office/drawing/2014/main" id="{20982D9A-3195-4E3A-B73D-06A45CF254F4}"/>
              </a:ext>
            </a:extLst>
          </p:cNvPr>
          <p:cNvSpPr>
            <a:spLocks noGrp="1"/>
          </p:cNvSpPr>
          <p:nvPr>
            <p:ph type="body" sz="quarter" idx="22" hasCustomPrompt="1"/>
          </p:nvPr>
        </p:nvSpPr>
        <p:spPr>
          <a:xfrm>
            <a:off x="8320639" y="2625522"/>
            <a:ext cx="3200400" cy="615553"/>
          </a:xfrm>
        </p:spPr>
        <p:txBody>
          <a:bodyPr wrap="square" lIns="0" tIns="0" rIns="0" bIns="0">
            <a:spAutoFit/>
          </a:bodyPr>
          <a:lstStyle>
            <a:lvl1pPr marL="0" indent="0" algn="ctr">
              <a:buNone/>
              <a:defRPr kumimoji="0" lang="en-US" sz="2000" b="0" i="0" u="none" strike="noStrike" cap="none" normalizeH="0" smtClean="0">
                <a:ln>
                  <a:noFill/>
                </a:ln>
                <a:solidFill>
                  <a:schemeClr val="accent1"/>
                </a:solidFill>
                <a:effectLst/>
                <a:uLnTx/>
                <a:uFillTx/>
                <a:latin typeface="+mj-lt"/>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21172462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Cus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20" name="Text Placeholder 107">
            <a:extLst>
              <a:ext uri="{FF2B5EF4-FFF2-40B4-BE49-F238E27FC236}">
                <a16:creationId xmlns:a16="http://schemas.microsoft.com/office/drawing/2014/main" id="{C5AFEB8E-0B24-4D48-A9C2-92E0228EAE70}"/>
              </a:ext>
            </a:extLst>
          </p:cNvPr>
          <p:cNvSpPr>
            <a:spLocks noGrp="1"/>
          </p:cNvSpPr>
          <p:nvPr>
            <p:ph type="body" sz="quarter" idx="18" hasCustomPrompt="1"/>
          </p:nvPr>
        </p:nvSpPr>
        <p:spPr>
          <a:xfrm>
            <a:off x="588264" y="1077871"/>
            <a:ext cx="11015474" cy="307777"/>
          </a:xfrm>
        </p:spPr>
        <p:txBody>
          <a:bodyPr wrap="square">
            <a:spAutoFit/>
          </a:bodyPr>
          <a:lstStyle>
            <a:lvl1pPr algn="ctr">
              <a:buNone/>
              <a:defRPr kumimoji="0" lang="en-US" sz="2000" b="0" i="0" u="none" strike="noStrike" kern="0" cap="none" normalizeH="0" dirty="0">
                <a:ln>
                  <a:noFill/>
                </a:ln>
                <a:solidFill>
                  <a:schemeClr val="accent1"/>
                </a:solidFill>
                <a:effectLst/>
                <a:uLnTx/>
                <a:uFillTx/>
                <a:latin typeface="+mn-lt"/>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0"/>
              </a:spcBef>
              <a:buSzTx/>
              <a:buFontTx/>
              <a:buNone/>
            </a:pPr>
            <a:r>
              <a:rPr lang="en-US"/>
              <a:t>Insert Text</a:t>
            </a:r>
          </a:p>
        </p:txBody>
      </p:sp>
      <p:pic>
        <p:nvPicPr>
          <p:cNvPr id="25" name="Picture 24">
            <a:extLst>
              <a:ext uri="{FF2B5EF4-FFF2-40B4-BE49-F238E27FC236}">
                <a16:creationId xmlns:a16="http://schemas.microsoft.com/office/drawing/2014/main" id="{2B031AE8-7019-4786-9E12-C8E06BFD4FD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504202" y="5232400"/>
            <a:ext cx="1687798" cy="1625600"/>
          </a:xfrm>
          <a:custGeom>
            <a:avLst/>
            <a:gdLst>
              <a:gd name="connsiteX0" fmla="*/ 0 w 1687798"/>
              <a:gd name="connsiteY0" fmla="*/ 0 h 1625600"/>
              <a:gd name="connsiteX1" fmla="*/ 1687798 w 1687798"/>
              <a:gd name="connsiteY1" fmla="*/ 0 h 1625600"/>
              <a:gd name="connsiteX2" fmla="*/ 1687798 w 1687798"/>
              <a:gd name="connsiteY2" fmla="*/ 1625600 h 1625600"/>
              <a:gd name="connsiteX3" fmla="*/ 0 w 1687798"/>
              <a:gd name="connsiteY3" fmla="*/ 1625600 h 1625600"/>
            </a:gdLst>
            <a:ahLst/>
            <a:cxnLst>
              <a:cxn ang="0">
                <a:pos x="connsiteX0" y="connsiteY0"/>
              </a:cxn>
              <a:cxn ang="0">
                <a:pos x="connsiteX1" y="connsiteY1"/>
              </a:cxn>
              <a:cxn ang="0">
                <a:pos x="connsiteX2" y="connsiteY2"/>
              </a:cxn>
              <a:cxn ang="0">
                <a:pos x="connsiteX3" y="connsiteY3"/>
              </a:cxn>
            </a:cxnLst>
            <a:rect l="l" t="t" r="r" b="b"/>
            <a:pathLst>
              <a:path w="1687798" h="1625600">
                <a:moveTo>
                  <a:pt x="0" y="0"/>
                </a:moveTo>
                <a:lnTo>
                  <a:pt x="1687798" y="0"/>
                </a:lnTo>
                <a:lnTo>
                  <a:pt x="1687798" y="1625600"/>
                </a:lnTo>
                <a:lnTo>
                  <a:pt x="0" y="1625600"/>
                </a:lnTo>
                <a:close/>
              </a:path>
            </a:pathLst>
          </a:custGeom>
        </p:spPr>
      </p:pic>
      <p:pic>
        <p:nvPicPr>
          <p:cNvPr id="30" name="Picture 29">
            <a:extLst>
              <a:ext uri="{FF2B5EF4-FFF2-40B4-BE49-F238E27FC236}">
                <a16:creationId xmlns:a16="http://schemas.microsoft.com/office/drawing/2014/main" id="{CB9AEBE0-ACB5-4B9B-A0D2-80C8964E18A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01401" y="5232400"/>
            <a:ext cx="1687798" cy="1625600"/>
          </a:xfrm>
          <a:custGeom>
            <a:avLst/>
            <a:gdLst>
              <a:gd name="connsiteX0" fmla="*/ 0 w 1687798"/>
              <a:gd name="connsiteY0" fmla="*/ 0 h 1625600"/>
              <a:gd name="connsiteX1" fmla="*/ 1687798 w 1687798"/>
              <a:gd name="connsiteY1" fmla="*/ 0 h 1625600"/>
              <a:gd name="connsiteX2" fmla="*/ 1687798 w 1687798"/>
              <a:gd name="connsiteY2" fmla="*/ 1625600 h 1625600"/>
              <a:gd name="connsiteX3" fmla="*/ 0 w 1687798"/>
              <a:gd name="connsiteY3" fmla="*/ 1625600 h 1625600"/>
            </a:gdLst>
            <a:ahLst/>
            <a:cxnLst>
              <a:cxn ang="0">
                <a:pos x="connsiteX0" y="connsiteY0"/>
              </a:cxn>
              <a:cxn ang="0">
                <a:pos x="connsiteX1" y="connsiteY1"/>
              </a:cxn>
              <a:cxn ang="0">
                <a:pos x="connsiteX2" y="connsiteY2"/>
              </a:cxn>
              <a:cxn ang="0">
                <a:pos x="connsiteX3" y="connsiteY3"/>
              </a:cxn>
            </a:cxnLst>
            <a:rect l="l" t="t" r="r" b="b"/>
            <a:pathLst>
              <a:path w="1687798" h="1625600">
                <a:moveTo>
                  <a:pt x="0" y="0"/>
                </a:moveTo>
                <a:lnTo>
                  <a:pt x="1687798" y="0"/>
                </a:lnTo>
                <a:lnTo>
                  <a:pt x="1687798" y="1625600"/>
                </a:lnTo>
                <a:lnTo>
                  <a:pt x="0" y="1625600"/>
                </a:lnTo>
                <a:close/>
              </a:path>
            </a:pathLst>
          </a:custGeom>
        </p:spPr>
      </p:pic>
      <p:pic>
        <p:nvPicPr>
          <p:cNvPr id="35" name="Picture 34">
            <a:extLst>
              <a:ext uri="{FF2B5EF4-FFF2-40B4-BE49-F238E27FC236}">
                <a16:creationId xmlns:a16="http://schemas.microsoft.com/office/drawing/2014/main" id="{762653D7-0389-4313-B6BB-86F0D2235B1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1"/>
          <a:stretch/>
        </p:blipFill>
        <p:spPr>
          <a:xfrm>
            <a:off x="8753502" y="5232400"/>
            <a:ext cx="1687798" cy="1625600"/>
          </a:xfrm>
          <a:custGeom>
            <a:avLst/>
            <a:gdLst>
              <a:gd name="connsiteX0" fmla="*/ 0 w 1687798"/>
              <a:gd name="connsiteY0" fmla="*/ 0 h 1625600"/>
              <a:gd name="connsiteX1" fmla="*/ 1687798 w 1687798"/>
              <a:gd name="connsiteY1" fmla="*/ 0 h 1625600"/>
              <a:gd name="connsiteX2" fmla="*/ 1687798 w 1687798"/>
              <a:gd name="connsiteY2" fmla="*/ 1625600 h 1625600"/>
              <a:gd name="connsiteX3" fmla="*/ 0 w 1687798"/>
              <a:gd name="connsiteY3" fmla="*/ 1625600 h 1625600"/>
            </a:gdLst>
            <a:ahLst/>
            <a:cxnLst>
              <a:cxn ang="0">
                <a:pos x="connsiteX0" y="connsiteY0"/>
              </a:cxn>
              <a:cxn ang="0">
                <a:pos x="connsiteX1" y="connsiteY1"/>
              </a:cxn>
              <a:cxn ang="0">
                <a:pos x="connsiteX2" y="connsiteY2"/>
              </a:cxn>
              <a:cxn ang="0">
                <a:pos x="connsiteX3" y="connsiteY3"/>
              </a:cxn>
            </a:cxnLst>
            <a:rect l="l" t="t" r="r" b="b"/>
            <a:pathLst>
              <a:path w="1687798" h="1625600">
                <a:moveTo>
                  <a:pt x="0" y="0"/>
                </a:moveTo>
                <a:lnTo>
                  <a:pt x="1687798" y="0"/>
                </a:lnTo>
                <a:lnTo>
                  <a:pt x="1687798" y="1625600"/>
                </a:lnTo>
                <a:lnTo>
                  <a:pt x="0" y="1625600"/>
                </a:lnTo>
                <a:close/>
              </a:path>
            </a:pathLst>
          </a:custGeom>
        </p:spPr>
      </p:pic>
      <p:pic>
        <p:nvPicPr>
          <p:cNvPr id="40" name="Picture 39">
            <a:extLst>
              <a:ext uri="{FF2B5EF4-FFF2-40B4-BE49-F238E27FC236}">
                <a16:creationId xmlns:a16="http://schemas.microsoft.com/office/drawing/2014/main" id="{C6EF8DCD-523E-4268-93BA-ABDD1B0861C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5252102" y="5232400"/>
            <a:ext cx="1687798" cy="1625600"/>
          </a:xfrm>
          <a:custGeom>
            <a:avLst/>
            <a:gdLst>
              <a:gd name="connsiteX0" fmla="*/ 0 w 1687798"/>
              <a:gd name="connsiteY0" fmla="*/ 0 h 1625600"/>
              <a:gd name="connsiteX1" fmla="*/ 1687798 w 1687798"/>
              <a:gd name="connsiteY1" fmla="*/ 0 h 1625600"/>
              <a:gd name="connsiteX2" fmla="*/ 1687798 w 1687798"/>
              <a:gd name="connsiteY2" fmla="*/ 1625600 h 1625600"/>
              <a:gd name="connsiteX3" fmla="*/ 0 w 1687798"/>
              <a:gd name="connsiteY3" fmla="*/ 1625600 h 1625600"/>
            </a:gdLst>
            <a:ahLst/>
            <a:cxnLst>
              <a:cxn ang="0">
                <a:pos x="connsiteX0" y="connsiteY0"/>
              </a:cxn>
              <a:cxn ang="0">
                <a:pos x="connsiteX1" y="connsiteY1"/>
              </a:cxn>
              <a:cxn ang="0">
                <a:pos x="connsiteX2" y="connsiteY2"/>
              </a:cxn>
              <a:cxn ang="0">
                <a:pos x="connsiteX3" y="connsiteY3"/>
              </a:cxn>
            </a:cxnLst>
            <a:rect l="l" t="t" r="r" b="b"/>
            <a:pathLst>
              <a:path w="1687798" h="1625600">
                <a:moveTo>
                  <a:pt x="0" y="0"/>
                </a:moveTo>
                <a:lnTo>
                  <a:pt x="1687798" y="0"/>
                </a:lnTo>
                <a:lnTo>
                  <a:pt x="1687798" y="1625600"/>
                </a:lnTo>
                <a:lnTo>
                  <a:pt x="0" y="1625600"/>
                </a:lnTo>
                <a:close/>
              </a:path>
            </a:pathLst>
          </a:custGeom>
        </p:spPr>
      </p:pic>
      <p:pic>
        <p:nvPicPr>
          <p:cNvPr id="45" name="Picture 44">
            <a:extLst>
              <a:ext uri="{FF2B5EF4-FFF2-40B4-BE49-F238E27FC236}">
                <a16:creationId xmlns:a16="http://schemas.microsoft.com/office/drawing/2014/main" id="{60606556-AEFF-4C37-87A3-D2596A9C8AF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3" t="-2"/>
          <a:stretch/>
        </p:blipFill>
        <p:spPr>
          <a:xfrm>
            <a:off x="7002803" y="5232401"/>
            <a:ext cx="1687798" cy="1625600"/>
          </a:xfrm>
          <a:custGeom>
            <a:avLst/>
            <a:gdLst>
              <a:gd name="connsiteX0" fmla="*/ 0 w 1687798"/>
              <a:gd name="connsiteY0" fmla="*/ 0 h 1625600"/>
              <a:gd name="connsiteX1" fmla="*/ 1687798 w 1687798"/>
              <a:gd name="connsiteY1" fmla="*/ 0 h 1625600"/>
              <a:gd name="connsiteX2" fmla="*/ 1687798 w 1687798"/>
              <a:gd name="connsiteY2" fmla="*/ 1625600 h 1625600"/>
              <a:gd name="connsiteX3" fmla="*/ 0 w 1687798"/>
              <a:gd name="connsiteY3" fmla="*/ 1625600 h 1625600"/>
            </a:gdLst>
            <a:ahLst/>
            <a:cxnLst>
              <a:cxn ang="0">
                <a:pos x="connsiteX0" y="connsiteY0"/>
              </a:cxn>
              <a:cxn ang="0">
                <a:pos x="connsiteX1" y="connsiteY1"/>
              </a:cxn>
              <a:cxn ang="0">
                <a:pos x="connsiteX2" y="connsiteY2"/>
              </a:cxn>
              <a:cxn ang="0">
                <a:pos x="connsiteX3" y="connsiteY3"/>
              </a:cxn>
            </a:cxnLst>
            <a:rect l="l" t="t" r="r" b="b"/>
            <a:pathLst>
              <a:path w="1687798" h="1625600">
                <a:moveTo>
                  <a:pt x="0" y="0"/>
                </a:moveTo>
                <a:lnTo>
                  <a:pt x="1687798" y="0"/>
                </a:lnTo>
                <a:lnTo>
                  <a:pt x="1687798" y="1625600"/>
                </a:lnTo>
                <a:lnTo>
                  <a:pt x="0" y="1625600"/>
                </a:lnTo>
                <a:close/>
              </a:path>
            </a:pathLst>
          </a:custGeom>
        </p:spPr>
      </p:pic>
      <p:pic>
        <p:nvPicPr>
          <p:cNvPr id="50" name="Picture 49">
            <a:extLst>
              <a:ext uri="{FF2B5EF4-FFF2-40B4-BE49-F238E27FC236}">
                <a16:creationId xmlns:a16="http://schemas.microsoft.com/office/drawing/2014/main" id="{4CE52EB7-2D78-4047-9B33-C99048E1DDC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2"/>
          <a:stretch/>
        </p:blipFill>
        <p:spPr>
          <a:xfrm>
            <a:off x="1750700" y="5232400"/>
            <a:ext cx="1687798" cy="1625600"/>
          </a:xfrm>
          <a:custGeom>
            <a:avLst/>
            <a:gdLst>
              <a:gd name="connsiteX0" fmla="*/ 0 w 1687798"/>
              <a:gd name="connsiteY0" fmla="*/ 0 h 1625600"/>
              <a:gd name="connsiteX1" fmla="*/ 1687798 w 1687798"/>
              <a:gd name="connsiteY1" fmla="*/ 0 h 1625600"/>
              <a:gd name="connsiteX2" fmla="*/ 1687798 w 1687798"/>
              <a:gd name="connsiteY2" fmla="*/ 1625600 h 1625600"/>
              <a:gd name="connsiteX3" fmla="*/ 0 w 1687798"/>
              <a:gd name="connsiteY3" fmla="*/ 1625600 h 1625600"/>
            </a:gdLst>
            <a:ahLst/>
            <a:cxnLst>
              <a:cxn ang="0">
                <a:pos x="connsiteX0" y="connsiteY0"/>
              </a:cxn>
              <a:cxn ang="0">
                <a:pos x="connsiteX1" y="connsiteY1"/>
              </a:cxn>
              <a:cxn ang="0">
                <a:pos x="connsiteX2" y="connsiteY2"/>
              </a:cxn>
              <a:cxn ang="0">
                <a:pos x="connsiteX3" y="connsiteY3"/>
              </a:cxn>
            </a:cxnLst>
            <a:rect l="l" t="t" r="r" b="b"/>
            <a:pathLst>
              <a:path w="1687798" h="1625600">
                <a:moveTo>
                  <a:pt x="0" y="0"/>
                </a:moveTo>
                <a:lnTo>
                  <a:pt x="1687798" y="0"/>
                </a:lnTo>
                <a:lnTo>
                  <a:pt x="1687798" y="1625600"/>
                </a:lnTo>
                <a:lnTo>
                  <a:pt x="0" y="1625600"/>
                </a:lnTo>
                <a:close/>
              </a:path>
            </a:pathLst>
          </a:custGeom>
        </p:spPr>
      </p:pic>
      <p:pic>
        <p:nvPicPr>
          <p:cNvPr id="55" name="Picture 54">
            <a:extLst>
              <a:ext uri="{FF2B5EF4-FFF2-40B4-BE49-F238E27FC236}">
                <a16:creationId xmlns:a16="http://schemas.microsoft.com/office/drawing/2014/main" id="{D6FAAE22-5E7E-4804-9830-FB38A191307E}"/>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 b="-1"/>
          <a:stretch/>
        </p:blipFill>
        <p:spPr>
          <a:xfrm>
            <a:off x="0" y="5232400"/>
            <a:ext cx="1687799" cy="1625600"/>
          </a:xfrm>
          <a:custGeom>
            <a:avLst/>
            <a:gdLst>
              <a:gd name="connsiteX0" fmla="*/ 0 w 1687799"/>
              <a:gd name="connsiteY0" fmla="*/ 0 h 1625600"/>
              <a:gd name="connsiteX1" fmla="*/ 1687799 w 1687799"/>
              <a:gd name="connsiteY1" fmla="*/ 0 h 1625600"/>
              <a:gd name="connsiteX2" fmla="*/ 1687799 w 1687799"/>
              <a:gd name="connsiteY2" fmla="*/ 1625600 h 1625600"/>
              <a:gd name="connsiteX3" fmla="*/ 0 w 1687799"/>
              <a:gd name="connsiteY3" fmla="*/ 1625600 h 1625600"/>
            </a:gdLst>
            <a:ahLst/>
            <a:cxnLst>
              <a:cxn ang="0">
                <a:pos x="connsiteX0" y="connsiteY0"/>
              </a:cxn>
              <a:cxn ang="0">
                <a:pos x="connsiteX1" y="connsiteY1"/>
              </a:cxn>
              <a:cxn ang="0">
                <a:pos x="connsiteX2" y="connsiteY2"/>
              </a:cxn>
              <a:cxn ang="0">
                <a:pos x="connsiteX3" y="connsiteY3"/>
              </a:cxn>
            </a:cxnLst>
            <a:rect l="l" t="t" r="r" b="b"/>
            <a:pathLst>
              <a:path w="1687799" h="1625600">
                <a:moveTo>
                  <a:pt x="0" y="0"/>
                </a:moveTo>
                <a:lnTo>
                  <a:pt x="1687799" y="0"/>
                </a:lnTo>
                <a:lnTo>
                  <a:pt x="1687799" y="1625600"/>
                </a:lnTo>
                <a:lnTo>
                  <a:pt x="0" y="1625600"/>
                </a:lnTo>
                <a:close/>
              </a:path>
            </a:pathLst>
          </a:custGeom>
        </p:spPr>
      </p:pic>
    </p:spTree>
    <p:extLst>
      <p:ext uri="{BB962C8B-B14F-4D97-AF65-F5344CB8AC3E}">
        <p14:creationId xmlns:p14="http://schemas.microsoft.com/office/powerpoint/2010/main" val="22358433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slide">
    <p:bg>
      <p:bgPr>
        <a:solidFill>
          <a:schemeClr val="accent2">
            <a:lumMod val="75000"/>
          </a:schemeClr>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F01F9FA-8952-427C-A3C5-6BD099AF46EF}"/>
              </a:ext>
            </a:extLst>
          </p:cNvPr>
          <p:cNvGrpSpPr/>
          <p:nvPr userDrawn="1"/>
        </p:nvGrpSpPr>
        <p:grpSpPr>
          <a:xfrm>
            <a:off x="-1433034" y="1055017"/>
            <a:ext cx="5400711" cy="5400668"/>
            <a:chOff x="-1433034" y="1055017"/>
            <a:chExt cx="5400711" cy="5400668"/>
          </a:xfrm>
        </p:grpSpPr>
        <p:sp>
          <p:nvSpPr>
            <p:cNvPr id="14" name="Freeform 89">
              <a:extLst>
                <a:ext uri="{FF2B5EF4-FFF2-40B4-BE49-F238E27FC236}">
                  <a16:creationId xmlns:a16="http://schemas.microsoft.com/office/drawing/2014/main" id="{3B764FEC-AB83-4F27-AB8A-2BC47EDBCE1B}"/>
                </a:ext>
              </a:extLst>
            </p:cNvPr>
            <p:cNvSpPr>
              <a:spLocks/>
            </p:cNvSpPr>
            <p:nvPr/>
          </p:nvSpPr>
          <p:spPr bwMode="auto">
            <a:xfrm>
              <a:off x="2908301" y="3900750"/>
              <a:ext cx="1059376" cy="1661743"/>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5" name="Freeform 90">
              <a:extLst>
                <a:ext uri="{FF2B5EF4-FFF2-40B4-BE49-F238E27FC236}">
                  <a16:creationId xmlns:a16="http://schemas.microsoft.com/office/drawing/2014/main" id="{9C69E9FD-CE78-4D2E-AD1E-C63107F3AE8A}"/>
                </a:ext>
              </a:extLst>
            </p:cNvPr>
            <p:cNvSpPr>
              <a:spLocks/>
            </p:cNvSpPr>
            <p:nvPr/>
          </p:nvSpPr>
          <p:spPr bwMode="auto">
            <a:xfrm>
              <a:off x="-1433034" y="1948209"/>
              <a:ext cx="1100919" cy="1661743"/>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6" name="Freeform 91">
              <a:extLst>
                <a:ext uri="{FF2B5EF4-FFF2-40B4-BE49-F238E27FC236}">
                  <a16:creationId xmlns:a16="http://schemas.microsoft.com/office/drawing/2014/main" id="{8AAA5BE6-12D1-44A7-AF43-F29B089941C5}"/>
                </a:ext>
              </a:extLst>
            </p:cNvPr>
            <p:cNvSpPr>
              <a:spLocks/>
            </p:cNvSpPr>
            <p:nvPr/>
          </p:nvSpPr>
          <p:spPr bwMode="auto">
            <a:xfrm>
              <a:off x="-519070" y="5354780"/>
              <a:ext cx="1661757" cy="1100905"/>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7" name="Freeform 92">
              <a:extLst>
                <a:ext uri="{FF2B5EF4-FFF2-40B4-BE49-F238E27FC236}">
                  <a16:creationId xmlns:a16="http://schemas.microsoft.com/office/drawing/2014/main" id="{AC0E16FC-EE90-4A58-AA2B-8EB1D13D55BF}"/>
                </a:ext>
              </a:extLst>
            </p:cNvPr>
            <p:cNvSpPr>
              <a:spLocks/>
            </p:cNvSpPr>
            <p:nvPr/>
          </p:nvSpPr>
          <p:spPr bwMode="auto">
            <a:xfrm>
              <a:off x="-1433034" y="3900750"/>
              <a:ext cx="1100919" cy="1661743"/>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8" name="Freeform 93">
              <a:extLst>
                <a:ext uri="{FF2B5EF4-FFF2-40B4-BE49-F238E27FC236}">
                  <a16:creationId xmlns:a16="http://schemas.microsoft.com/office/drawing/2014/main" id="{ED43D15B-D4A4-434F-B0CB-F31BAE5925C9}"/>
                </a:ext>
              </a:extLst>
            </p:cNvPr>
            <p:cNvSpPr>
              <a:spLocks/>
            </p:cNvSpPr>
            <p:nvPr/>
          </p:nvSpPr>
          <p:spPr bwMode="auto">
            <a:xfrm>
              <a:off x="2908301" y="1948209"/>
              <a:ext cx="1059376" cy="1661743"/>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0" name="Freeform 94">
              <a:extLst>
                <a:ext uri="{FF2B5EF4-FFF2-40B4-BE49-F238E27FC236}">
                  <a16:creationId xmlns:a16="http://schemas.microsoft.com/office/drawing/2014/main" id="{36C84FD3-AAD8-468D-B7FD-A551B2DD4116}"/>
                </a:ext>
              </a:extLst>
            </p:cNvPr>
            <p:cNvSpPr>
              <a:spLocks/>
            </p:cNvSpPr>
            <p:nvPr/>
          </p:nvSpPr>
          <p:spPr bwMode="auto">
            <a:xfrm>
              <a:off x="1412727" y="5354780"/>
              <a:ext cx="1682529" cy="1100905"/>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1" name="Freeform 95">
              <a:extLst>
                <a:ext uri="{FF2B5EF4-FFF2-40B4-BE49-F238E27FC236}">
                  <a16:creationId xmlns:a16="http://schemas.microsoft.com/office/drawing/2014/main" id="{40449E8D-1665-4DAC-BB3C-5CA02705542B}"/>
                </a:ext>
              </a:extLst>
            </p:cNvPr>
            <p:cNvSpPr>
              <a:spLocks/>
            </p:cNvSpPr>
            <p:nvPr/>
          </p:nvSpPr>
          <p:spPr bwMode="auto">
            <a:xfrm>
              <a:off x="1433499" y="1055017"/>
              <a:ext cx="1661757" cy="1080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2" name="Freeform 96">
              <a:extLst>
                <a:ext uri="{FF2B5EF4-FFF2-40B4-BE49-F238E27FC236}">
                  <a16:creationId xmlns:a16="http://schemas.microsoft.com/office/drawing/2014/main" id="{FC559D39-21CA-43DE-B75E-2A34459C160E}"/>
                </a:ext>
              </a:extLst>
            </p:cNvPr>
            <p:cNvSpPr>
              <a:spLocks/>
            </p:cNvSpPr>
            <p:nvPr/>
          </p:nvSpPr>
          <p:spPr bwMode="auto">
            <a:xfrm>
              <a:off x="-519070" y="1055017"/>
              <a:ext cx="1661757" cy="1080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3" name="Freeform 97">
              <a:extLst>
                <a:ext uri="{FF2B5EF4-FFF2-40B4-BE49-F238E27FC236}">
                  <a16:creationId xmlns:a16="http://schemas.microsoft.com/office/drawing/2014/main" id="{632445B9-5495-422C-B05B-927444BF880E}"/>
                </a:ext>
              </a:extLst>
            </p:cNvPr>
            <p:cNvSpPr>
              <a:spLocks/>
            </p:cNvSpPr>
            <p:nvPr/>
          </p:nvSpPr>
          <p:spPr bwMode="auto">
            <a:xfrm>
              <a:off x="-145174" y="2779074"/>
              <a:ext cx="2887304" cy="1682514"/>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tx1">
                <a:alpha val="10000"/>
              </a:schemeClr>
            </a:solid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pic>
        <p:nvPicPr>
          <p:cNvPr id="7" name="MS logo white - EMF" descr="Microsoft logo">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19" name="Freeform: Shape 18">
            <a:extLst>
              <a:ext uri="{FF2B5EF4-FFF2-40B4-BE49-F238E27FC236}">
                <a16:creationId xmlns:a16="http://schemas.microsoft.com/office/drawing/2014/main" id="{803407A8-82DD-4AE1-B5FB-B4EF2F9C9FE4}"/>
              </a:ext>
            </a:extLst>
          </p:cNvPr>
          <p:cNvSpPr/>
          <p:nvPr/>
        </p:nvSpPr>
        <p:spPr bwMode="auto">
          <a:xfrm>
            <a:off x="5379719" y="45720"/>
            <a:ext cx="6766560" cy="676656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ln w="0"/>
              <a:solidFill>
                <a:schemeClr val="tx1"/>
              </a:solidFill>
              <a:effectLst>
                <a:outerShdw blurRad="38100" dist="19050" dir="2700000" algn="tl" rotWithShape="0">
                  <a:schemeClr val="dk1">
                    <a:alpha val="40000"/>
                  </a:schemeClr>
                </a:outerShdw>
              </a:effectLst>
              <a:ea typeface="Segoe UI" pitchFamily="34" charset="0"/>
              <a:cs typeface="Segoe UI" pitchFamily="34" charset="0"/>
            </a:endParaRPr>
          </a:p>
        </p:txBody>
      </p:sp>
      <p:pic>
        <p:nvPicPr>
          <p:cNvPr id="35" name="Picture 34" descr="A large brick building&#10;&#10;Description automatically generated">
            <a:extLst>
              <a:ext uri="{FF2B5EF4-FFF2-40B4-BE49-F238E27FC236}">
                <a16:creationId xmlns:a16="http://schemas.microsoft.com/office/drawing/2014/main" id="{17ABA876-4F09-4B2F-8215-FF06DEF8D3F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424830" y="90832"/>
            <a:ext cx="4434485" cy="2180937"/>
          </a:xfrm>
          <a:custGeom>
            <a:avLst/>
            <a:gdLst>
              <a:gd name="connsiteX0" fmla="*/ 0 w 4434485"/>
              <a:gd name="connsiteY0" fmla="*/ 0 h 2180937"/>
              <a:gd name="connsiteX1" fmla="*/ 4434485 w 4434485"/>
              <a:gd name="connsiteY1" fmla="*/ 0 h 2180937"/>
              <a:gd name="connsiteX2" fmla="*/ 4434485 w 4434485"/>
              <a:gd name="connsiteY2" fmla="*/ 2180937 h 2180937"/>
              <a:gd name="connsiteX3" fmla="*/ 0 w 4434485"/>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5" h="2180937">
                <a:moveTo>
                  <a:pt x="0" y="0"/>
                </a:moveTo>
                <a:lnTo>
                  <a:pt x="4434485" y="0"/>
                </a:lnTo>
                <a:lnTo>
                  <a:pt x="4434485" y="2180937"/>
                </a:lnTo>
                <a:lnTo>
                  <a:pt x="0" y="2180937"/>
                </a:lnTo>
                <a:close/>
              </a:path>
            </a:pathLst>
          </a:custGeom>
        </p:spPr>
      </p:pic>
      <p:pic>
        <p:nvPicPr>
          <p:cNvPr id="42" name="Picture 41" descr="A picture containing sitting, monitor, surface, table&#10;&#10;Description automatically generated">
            <a:extLst>
              <a:ext uri="{FF2B5EF4-FFF2-40B4-BE49-F238E27FC236}">
                <a16:creationId xmlns:a16="http://schemas.microsoft.com/office/drawing/2014/main" id="{62D26B1E-E4A4-4F02-8034-DDB89FC52A04}"/>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9909074" y="4586234"/>
            <a:ext cx="2192365" cy="2181207"/>
          </a:xfrm>
          <a:custGeom>
            <a:avLst/>
            <a:gdLst>
              <a:gd name="connsiteX0" fmla="*/ 0 w 2192365"/>
              <a:gd name="connsiteY0" fmla="*/ 0 h 2181207"/>
              <a:gd name="connsiteX1" fmla="*/ 2192365 w 2192365"/>
              <a:gd name="connsiteY1" fmla="*/ 0 h 2181207"/>
              <a:gd name="connsiteX2" fmla="*/ 2192365 w 2192365"/>
              <a:gd name="connsiteY2" fmla="*/ 2181207 h 2181207"/>
              <a:gd name="connsiteX3" fmla="*/ 0 w 2192365"/>
              <a:gd name="connsiteY3" fmla="*/ 2181207 h 2181207"/>
            </a:gdLst>
            <a:ahLst/>
            <a:cxnLst>
              <a:cxn ang="0">
                <a:pos x="connsiteX0" y="connsiteY0"/>
              </a:cxn>
              <a:cxn ang="0">
                <a:pos x="connsiteX1" y="connsiteY1"/>
              </a:cxn>
              <a:cxn ang="0">
                <a:pos x="connsiteX2" y="connsiteY2"/>
              </a:cxn>
              <a:cxn ang="0">
                <a:pos x="connsiteX3" y="connsiteY3"/>
              </a:cxn>
            </a:cxnLst>
            <a:rect l="l" t="t" r="r" b="b"/>
            <a:pathLst>
              <a:path w="2192365" h="2181207">
                <a:moveTo>
                  <a:pt x="0" y="0"/>
                </a:moveTo>
                <a:lnTo>
                  <a:pt x="2192365" y="0"/>
                </a:lnTo>
                <a:lnTo>
                  <a:pt x="2192365" y="2181207"/>
                </a:lnTo>
                <a:lnTo>
                  <a:pt x="0" y="2181207"/>
                </a:lnTo>
                <a:close/>
              </a:path>
            </a:pathLst>
          </a:custGeom>
        </p:spPr>
      </p:pic>
      <p:pic>
        <p:nvPicPr>
          <p:cNvPr id="41" name="Picture 40">
            <a:extLst>
              <a:ext uri="{FF2B5EF4-FFF2-40B4-BE49-F238E27FC236}">
                <a16:creationId xmlns:a16="http://schemas.microsoft.com/office/drawing/2014/main" id="{22B6A1CE-74DA-4435-AEF6-80EE198A9EC9}"/>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5424829" y="4586231"/>
            <a:ext cx="4434486" cy="2181210"/>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p:spPr>
      </p:pic>
      <p:sp>
        <p:nvSpPr>
          <p:cNvPr id="8" name="Footer Placeholder 1">
            <a:extLst>
              <a:ext uri="{FF2B5EF4-FFF2-40B4-BE49-F238E27FC236}">
                <a16:creationId xmlns:a16="http://schemas.microsoft.com/office/drawing/2014/main" id="{B2B47EF1-F52C-4806-9802-267BEBB7A4D0}"/>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
        <p:nvSpPr>
          <p:cNvPr id="2" name="Title 1">
            <a:extLst>
              <a:ext uri="{FF2B5EF4-FFF2-40B4-BE49-F238E27FC236}">
                <a16:creationId xmlns:a16="http://schemas.microsoft.com/office/drawing/2014/main" id="{27473C48-CC23-483A-AD2F-D2A7F3F29404}"/>
              </a:ext>
            </a:extLst>
          </p:cNvPr>
          <p:cNvSpPr>
            <a:spLocks noGrp="1"/>
          </p:cNvSpPr>
          <p:nvPr>
            <p:ph type="title"/>
          </p:nvPr>
        </p:nvSpPr>
        <p:spPr>
          <a:xfrm>
            <a:off x="588263" y="2671763"/>
            <a:ext cx="4167187" cy="430887"/>
          </a:xfrm>
        </p:spPr>
        <p:txBody>
          <a:bodyPr/>
          <a:lstStyle>
            <a:lvl1pPr>
              <a:defRPr sz="2800">
                <a:solidFill>
                  <a:srgbClr val="50E6FF"/>
                </a:solidFill>
              </a:defRPr>
            </a:lvl1pPr>
          </a:lstStyle>
          <a:p>
            <a:r>
              <a:rPr lang="en-US"/>
              <a:t>Click to edit Master title style</a:t>
            </a:r>
          </a:p>
        </p:txBody>
      </p:sp>
      <p:pic>
        <p:nvPicPr>
          <p:cNvPr id="52" name="Picture 51" descr="A close up of a busy city street&#10;&#10;Description automatically generated">
            <a:extLst>
              <a:ext uri="{FF2B5EF4-FFF2-40B4-BE49-F238E27FC236}">
                <a16:creationId xmlns:a16="http://schemas.microsoft.com/office/drawing/2014/main" id="{EE933DB3-7D3D-4D2B-8F99-4BCDF608DFE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9909075" y="90831"/>
            <a:ext cx="2192365" cy="2180937"/>
          </a:xfrm>
          <a:custGeom>
            <a:avLst/>
            <a:gdLst>
              <a:gd name="connsiteX0" fmla="*/ 0 w 2192365"/>
              <a:gd name="connsiteY0" fmla="*/ 0 h 2180937"/>
              <a:gd name="connsiteX1" fmla="*/ 2192365 w 2192365"/>
              <a:gd name="connsiteY1" fmla="*/ 0 h 2180937"/>
              <a:gd name="connsiteX2" fmla="*/ 2192365 w 2192365"/>
              <a:gd name="connsiteY2" fmla="*/ 2180937 h 2180937"/>
              <a:gd name="connsiteX3" fmla="*/ 0 w 2192365"/>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2192365" h="2180937">
                <a:moveTo>
                  <a:pt x="0" y="0"/>
                </a:moveTo>
                <a:lnTo>
                  <a:pt x="2192365" y="0"/>
                </a:lnTo>
                <a:lnTo>
                  <a:pt x="2192365" y="2180937"/>
                </a:lnTo>
                <a:lnTo>
                  <a:pt x="0" y="2180937"/>
                </a:lnTo>
                <a:close/>
              </a:path>
            </a:pathLst>
          </a:custGeom>
        </p:spPr>
      </p:pic>
      <p:pic>
        <p:nvPicPr>
          <p:cNvPr id="53" name="Picture 52" descr="A circuit board&#10;&#10;Description automatically generated">
            <a:extLst>
              <a:ext uri="{FF2B5EF4-FFF2-40B4-BE49-F238E27FC236}">
                <a16:creationId xmlns:a16="http://schemas.microsoft.com/office/drawing/2014/main" id="{18CCF701-798C-4000-9D7D-564A7617B27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a:xfrm>
            <a:off x="5424832" y="2315074"/>
            <a:ext cx="2192365" cy="2226046"/>
          </a:xfrm>
          <a:custGeom>
            <a:avLst/>
            <a:gdLst>
              <a:gd name="connsiteX0" fmla="*/ 0 w 2192365"/>
              <a:gd name="connsiteY0" fmla="*/ 0 h 2226046"/>
              <a:gd name="connsiteX1" fmla="*/ 2192365 w 2192365"/>
              <a:gd name="connsiteY1" fmla="*/ 0 h 2226046"/>
              <a:gd name="connsiteX2" fmla="*/ 2192365 w 2192365"/>
              <a:gd name="connsiteY2" fmla="*/ 2226046 h 2226046"/>
              <a:gd name="connsiteX3" fmla="*/ 0 w 2192365"/>
              <a:gd name="connsiteY3" fmla="*/ 2226046 h 2226046"/>
            </a:gdLst>
            <a:ahLst/>
            <a:cxnLst>
              <a:cxn ang="0">
                <a:pos x="connsiteX0" y="connsiteY0"/>
              </a:cxn>
              <a:cxn ang="0">
                <a:pos x="connsiteX1" y="connsiteY1"/>
              </a:cxn>
              <a:cxn ang="0">
                <a:pos x="connsiteX2" y="connsiteY2"/>
              </a:cxn>
              <a:cxn ang="0">
                <a:pos x="connsiteX3" y="connsiteY3"/>
              </a:cxn>
            </a:cxnLst>
            <a:rect l="l" t="t" r="r" b="b"/>
            <a:pathLst>
              <a:path w="2192365" h="2226046">
                <a:moveTo>
                  <a:pt x="0" y="0"/>
                </a:moveTo>
                <a:lnTo>
                  <a:pt x="2192365" y="0"/>
                </a:lnTo>
                <a:lnTo>
                  <a:pt x="2192365" y="2226046"/>
                </a:lnTo>
                <a:lnTo>
                  <a:pt x="0" y="2226046"/>
                </a:lnTo>
                <a:close/>
              </a:path>
            </a:pathLst>
          </a:custGeom>
        </p:spPr>
      </p:pic>
      <p:pic>
        <p:nvPicPr>
          <p:cNvPr id="54" name="Picture 53">
            <a:extLst>
              <a:ext uri="{FF2B5EF4-FFF2-40B4-BE49-F238E27FC236}">
                <a16:creationId xmlns:a16="http://schemas.microsoft.com/office/drawing/2014/main" id="{C870BF04-31EF-404A-A39A-4C3F9026859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7666952" y="2315074"/>
            <a:ext cx="4434486" cy="2226046"/>
          </a:xfrm>
          <a:custGeom>
            <a:avLst/>
            <a:gdLst>
              <a:gd name="connsiteX0" fmla="*/ 0 w 4434486"/>
              <a:gd name="connsiteY0" fmla="*/ 0 h 2226046"/>
              <a:gd name="connsiteX1" fmla="*/ 4434486 w 4434486"/>
              <a:gd name="connsiteY1" fmla="*/ 0 h 2226046"/>
              <a:gd name="connsiteX2" fmla="*/ 4434486 w 4434486"/>
              <a:gd name="connsiteY2" fmla="*/ 2226046 h 2226046"/>
              <a:gd name="connsiteX3" fmla="*/ 0 w 4434486"/>
              <a:gd name="connsiteY3" fmla="*/ 2226046 h 2226046"/>
            </a:gdLst>
            <a:ahLst/>
            <a:cxnLst>
              <a:cxn ang="0">
                <a:pos x="connsiteX0" y="connsiteY0"/>
              </a:cxn>
              <a:cxn ang="0">
                <a:pos x="connsiteX1" y="connsiteY1"/>
              </a:cxn>
              <a:cxn ang="0">
                <a:pos x="connsiteX2" y="connsiteY2"/>
              </a:cxn>
              <a:cxn ang="0">
                <a:pos x="connsiteX3" y="connsiteY3"/>
              </a:cxn>
            </a:cxnLst>
            <a:rect l="l" t="t" r="r" b="b"/>
            <a:pathLst>
              <a:path w="4434486" h="2226046">
                <a:moveTo>
                  <a:pt x="0" y="0"/>
                </a:moveTo>
                <a:lnTo>
                  <a:pt x="4434486" y="0"/>
                </a:lnTo>
                <a:lnTo>
                  <a:pt x="4434486" y="2226046"/>
                </a:lnTo>
                <a:lnTo>
                  <a:pt x="0" y="2226046"/>
                </a:lnTo>
                <a:close/>
              </a:path>
            </a:pathLst>
          </a:custGeom>
        </p:spPr>
      </p:pic>
    </p:spTree>
    <p:extLst>
      <p:ext uri="{BB962C8B-B14F-4D97-AF65-F5344CB8AC3E}">
        <p14:creationId xmlns:p14="http://schemas.microsoft.com/office/powerpoint/2010/main" val="96064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6405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a:xfrm>
            <a:off x="216409" y="591671"/>
            <a:ext cx="11759184"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0"/>
          </p:nvPr>
        </p:nvSpPr>
        <p:spPr/>
        <p:txBody>
          <a:bodyPr/>
          <a:lstStyle/>
          <a:p>
            <a:r>
              <a:rPr lang="en-US"/>
              <a:t>MICROSOFT CONFIDENTIAL</a:t>
            </a:r>
          </a:p>
        </p:txBody>
      </p:sp>
      <p:sp>
        <p:nvSpPr>
          <p:cNvPr id="7" name="Slide Number Placeholder 6"/>
          <p:cNvSpPr>
            <a:spLocks noGrp="1"/>
          </p:cNvSpPr>
          <p:nvPr>
            <p:ph type="sldNum" sz="quarter" idx="11"/>
          </p:nvPr>
        </p:nvSpPr>
        <p:spPr/>
        <p:txBody>
          <a:bodyPr/>
          <a:lstStyle/>
          <a:p>
            <a:fld id="{AA51F4C4-43BE-4293-9866-908CCEECE991}" type="slidenum">
              <a:rPr lang="en-US" smtClean="0"/>
              <a:t>‹#›</a:t>
            </a:fld>
            <a:endParaRPr lang="en-US"/>
          </a:p>
        </p:txBody>
      </p:sp>
    </p:spTree>
    <p:extLst>
      <p:ext uri="{BB962C8B-B14F-4D97-AF65-F5344CB8AC3E}">
        <p14:creationId xmlns:p14="http://schemas.microsoft.com/office/powerpoint/2010/main" val="37210652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388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quare photo (Front)">
    <p:bg>
      <p:bgRef idx="1001">
        <a:schemeClr val="bg1"/>
      </p:bgRef>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C818EDA6-1EFB-47CF-98FC-2ABB63A544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0"/>
            <a:ext cx="12191999" cy="5076100"/>
          </a:xfrm>
          <a:custGeom>
            <a:avLst/>
            <a:gdLst>
              <a:gd name="connsiteX0" fmla="*/ 0 w 12191999"/>
              <a:gd name="connsiteY0" fmla="*/ 0 h 5076100"/>
              <a:gd name="connsiteX1" fmla="*/ 12191999 w 12191999"/>
              <a:gd name="connsiteY1" fmla="*/ 0 h 5076100"/>
              <a:gd name="connsiteX2" fmla="*/ 12191999 w 12191999"/>
              <a:gd name="connsiteY2" fmla="*/ 5076100 h 5076100"/>
              <a:gd name="connsiteX3" fmla="*/ 0 w 12191999"/>
              <a:gd name="connsiteY3" fmla="*/ 5076100 h 5076100"/>
            </a:gdLst>
            <a:ahLst/>
            <a:cxnLst>
              <a:cxn ang="0">
                <a:pos x="connsiteX0" y="connsiteY0"/>
              </a:cxn>
              <a:cxn ang="0">
                <a:pos x="connsiteX1" y="connsiteY1"/>
              </a:cxn>
              <a:cxn ang="0">
                <a:pos x="connsiteX2" y="connsiteY2"/>
              </a:cxn>
              <a:cxn ang="0">
                <a:pos x="connsiteX3" y="connsiteY3"/>
              </a:cxn>
            </a:cxnLst>
            <a:rect l="l" t="t" r="r" b="b"/>
            <a:pathLst>
              <a:path w="12191999" h="5076100">
                <a:moveTo>
                  <a:pt x="0" y="0"/>
                </a:moveTo>
                <a:lnTo>
                  <a:pt x="12191999" y="0"/>
                </a:lnTo>
                <a:lnTo>
                  <a:pt x="12191999" y="5076100"/>
                </a:lnTo>
                <a:lnTo>
                  <a:pt x="0" y="5076100"/>
                </a:lnTo>
                <a:close/>
              </a:path>
            </a:pathLst>
          </a:custGeom>
        </p:spPr>
      </p:pic>
      <p:sp>
        <p:nvSpPr>
          <p:cNvPr id="17" name="Rectangle 16">
            <a:extLst>
              <a:ext uri="{FF2B5EF4-FFF2-40B4-BE49-F238E27FC236}">
                <a16:creationId xmlns:a16="http://schemas.microsoft.com/office/drawing/2014/main" id="{1D401BE6-7F60-44A1-8A91-D81D804C2FF1}"/>
              </a:ext>
            </a:extLst>
          </p:cNvPr>
          <p:cNvSpPr/>
          <p:nvPr userDrawn="1"/>
        </p:nvSpPr>
        <p:spPr bwMode="auto">
          <a:xfrm>
            <a:off x="0" y="-1"/>
            <a:ext cx="12192000" cy="5076099"/>
          </a:xfrm>
          <a:prstGeom prst="rect">
            <a:avLst/>
          </a:prstGeom>
          <a:gradFill flip="none" rotWithShape="1">
            <a:gsLst>
              <a:gs pos="29000">
                <a:srgbClr val="000000">
                  <a:alpha val="20000"/>
                </a:srgbClr>
              </a:gs>
              <a:gs pos="0">
                <a:srgbClr val="000000">
                  <a:alpha val="40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688FF6FD-C58D-4D38-9636-00419B9014F5}"/>
              </a:ext>
            </a:extLst>
          </p:cNvPr>
          <p:cNvSpPr/>
          <p:nvPr userDrawn="1"/>
        </p:nvSpPr>
        <p:spPr bwMode="auto">
          <a:xfrm>
            <a:off x="0" y="5076100"/>
            <a:ext cx="12192000" cy="1781899"/>
          </a:xfrm>
          <a:prstGeom prst="rect">
            <a:avLst/>
          </a:pr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8" name="Title 1">
            <a:extLst>
              <a:ext uri="{FF2B5EF4-FFF2-40B4-BE49-F238E27FC236}">
                <a16:creationId xmlns:a16="http://schemas.microsoft.com/office/drawing/2014/main" id="{2F7E2986-6A86-4C7C-B809-C07CD84F3360}"/>
              </a:ext>
            </a:extLst>
          </p:cNvPr>
          <p:cNvSpPr>
            <a:spLocks noGrp="1"/>
          </p:cNvSpPr>
          <p:nvPr>
            <p:ph type="title"/>
          </p:nvPr>
        </p:nvSpPr>
        <p:spPr>
          <a:xfrm>
            <a:off x="880115" y="5296551"/>
            <a:ext cx="11018520" cy="492443"/>
          </a:xfrm>
        </p:spPr>
        <p:txBody>
          <a:bodyPr vert="horz" wrap="square" lIns="0" tIns="0" rIns="0" bIns="0" rtlCol="0">
            <a:spAutoFit/>
          </a:bodyPr>
          <a:lstStyle>
            <a:lvl1pPr>
              <a:defRPr lang="en-IN" sz="32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grpSp>
        <p:nvGrpSpPr>
          <p:cNvPr id="36" name="Group 35">
            <a:extLst>
              <a:ext uri="{FF2B5EF4-FFF2-40B4-BE49-F238E27FC236}">
                <a16:creationId xmlns:a16="http://schemas.microsoft.com/office/drawing/2014/main" id="{BFE70EA0-B181-4089-B8C7-3BB1B5DFBD9A}"/>
              </a:ext>
            </a:extLst>
          </p:cNvPr>
          <p:cNvGrpSpPr/>
          <p:nvPr userDrawn="1"/>
        </p:nvGrpSpPr>
        <p:grpSpPr>
          <a:xfrm>
            <a:off x="152183" y="5450361"/>
            <a:ext cx="601980" cy="601980"/>
            <a:chOff x="997658" y="5928725"/>
            <a:chExt cx="601980" cy="601980"/>
          </a:xfrm>
        </p:grpSpPr>
        <p:sp>
          <p:nvSpPr>
            <p:cNvPr id="37" name="Oval 36">
              <a:extLst>
                <a:ext uri="{FF2B5EF4-FFF2-40B4-BE49-F238E27FC236}">
                  <a16:creationId xmlns:a16="http://schemas.microsoft.com/office/drawing/2014/main" id="{5AC8C939-F307-404F-A1C6-D151591A7ABC}"/>
                </a:ext>
              </a:extLst>
            </p:cNvPr>
            <p:cNvSpPr/>
            <p:nvPr/>
          </p:nvSpPr>
          <p:spPr bwMode="auto">
            <a:xfrm>
              <a:off x="997658" y="5928725"/>
              <a:ext cx="601980" cy="601980"/>
            </a:xfrm>
            <a:prstGeom prst="ellipse">
              <a:avLst/>
            </a:prstGeom>
            <a:no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38" name="data 3" descr="data, cloud, scale">
              <a:extLst>
                <a:ext uri="{FF2B5EF4-FFF2-40B4-BE49-F238E27FC236}">
                  <a16:creationId xmlns:a16="http://schemas.microsoft.com/office/drawing/2014/main" id="{734CACFF-5D83-41FB-A674-107EFD7A6ADE}"/>
                </a:ext>
              </a:extLst>
            </p:cNvPr>
            <p:cNvGrpSpPr>
              <a:grpSpLocks noChangeAspect="1"/>
            </p:cNvGrpSpPr>
            <p:nvPr/>
          </p:nvGrpSpPr>
          <p:grpSpPr bwMode="auto">
            <a:xfrm>
              <a:off x="1100674" y="6032501"/>
              <a:ext cx="395950" cy="394430"/>
              <a:chOff x="5781" y="773"/>
              <a:chExt cx="261" cy="260"/>
            </a:xfrm>
          </p:grpSpPr>
          <p:sp>
            <p:nvSpPr>
              <p:cNvPr id="39" name="AutoShape 87">
                <a:extLst>
                  <a:ext uri="{FF2B5EF4-FFF2-40B4-BE49-F238E27FC236}">
                    <a16:creationId xmlns:a16="http://schemas.microsoft.com/office/drawing/2014/main" id="{647E4122-2F94-460C-AC30-D02C0C05CE14}"/>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89">
                <a:extLst>
                  <a:ext uri="{FF2B5EF4-FFF2-40B4-BE49-F238E27FC236}">
                    <a16:creationId xmlns:a16="http://schemas.microsoft.com/office/drawing/2014/main" id="{1E6178E5-8B86-42D1-986E-7946A0AFF2C9}"/>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90">
                <a:extLst>
                  <a:ext uri="{FF2B5EF4-FFF2-40B4-BE49-F238E27FC236}">
                    <a16:creationId xmlns:a16="http://schemas.microsoft.com/office/drawing/2014/main" id="{E37E8C17-1450-499F-9FE5-68411B6B5081}"/>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91">
                <a:extLst>
                  <a:ext uri="{FF2B5EF4-FFF2-40B4-BE49-F238E27FC236}">
                    <a16:creationId xmlns:a16="http://schemas.microsoft.com/office/drawing/2014/main" id="{07F5F893-8974-492F-8326-E87BEB001FD0}"/>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92">
                <a:extLst>
                  <a:ext uri="{FF2B5EF4-FFF2-40B4-BE49-F238E27FC236}">
                    <a16:creationId xmlns:a16="http://schemas.microsoft.com/office/drawing/2014/main" id="{3D57F4F9-EB6B-45C5-A4B4-9A0604603BEB}"/>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93">
                <a:extLst>
                  <a:ext uri="{FF2B5EF4-FFF2-40B4-BE49-F238E27FC236}">
                    <a16:creationId xmlns:a16="http://schemas.microsoft.com/office/drawing/2014/main" id="{AEA4DE4B-4910-4707-83B8-1BABECE8C3B2}"/>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94">
                <a:extLst>
                  <a:ext uri="{FF2B5EF4-FFF2-40B4-BE49-F238E27FC236}">
                    <a16:creationId xmlns:a16="http://schemas.microsoft.com/office/drawing/2014/main" id="{D27B8DB2-EE14-4B02-A2FD-5D95AA43183C}"/>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95">
                <a:extLst>
                  <a:ext uri="{FF2B5EF4-FFF2-40B4-BE49-F238E27FC236}">
                    <a16:creationId xmlns:a16="http://schemas.microsoft.com/office/drawing/2014/main" id="{B42A6AFE-AFD7-492B-A508-5819D9FADBCC}"/>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96">
                <a:extLst>
                  <a:ext uri="{FF2B5EF4-FFF2-40B4-BE49-F238E27FC236}">
                    <a16:creationId xmlns:a16="http://schemas.microsoft.com/office/drawing/2014/main" id="{050AD86A-175F-433D-8683-3CC16C8014A2}"/>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97">
                <a:extLst>
                  <a:ext uri="{FF2B5EF4-FFF2-40B4-BE49-F238E27FC236}">
                    <a16:creationId xmlns:a16="http://schemas.microsoft.com/office/drawing/2014/main" id="{E6D12FF7-7148-4B94-B4F7-8C9AB82D3024}"/>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386D858E-C040-4CA2-91BC-82C037856A03}"/>
              </a:ext>
            </a:extLst>
          </p:cNvPr>
          <p:cNvGrpSpPr/>
          <p:nvPr userDrawn="1"/>
        </p:nvGrpSpPr>
        <p:grpSpPr>
          <a:xfrm>
            <a:off x="4467225" y="5945950"/>
            <a:ext cx="1307026" cy="417153"/>
            <a:chOff x="4467225" y="5945950"/>
            <a:chExt cx="1307026" cy="417153"/>
          </a:xfrm>
        </p:grpSpPr>
        <p:sp>
          <p:nvSpPr>
            <p:cNvPr id="51" name="Arc 50">
              <a:extLst>
                <a:ext uri="{FF2B5EF4-FFF2-40B4-BE49-F238E27FC236}">
                  <a16:creationId xmlns:a16="http://schemas.microsoft.com/office/drawing/2014/main" id="{8E1AF1DB-46C0-40BE-986D-A76F3FF4F567}"/>
                </a:ext>
              </a:extLst>
            </p:cNvPr>
            <p:cNvSpPr/>
            <p:nvPr/>
          </p:nvSpPr>
          <p:spPr>
            <a:xfrm>
              <a:off x="4467225" y="5945950"/>
              <a:ext cx="1245394" cy="417153"/>
            </a:xfrm>
            <a:prstGeom prst="arc">
              <a:avLst>
                <a:gd name="adj1" fmla="val 16871"/>
                <a:gd name="adj2" fmla="val 10742345"/>
              </a:avLst>
            </a:prstGeom>
            <a:ln w="12700" cap="rnd">
              <a:solidFill>
                <a:srgbClr val="50E6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Isosceles Triangle 51">
              <a:extLst>
                <a:ext uri="{FF2B5EF4-FFF2-40B4-BE49-F238E27FC236}">
                  <a16:creationId xmlns:a16="http://schemas.microsoft.com/office/drawing/2014/main" id="{27A51E8A-451B-4F9D-9C0A-C6BB306D8577}"/>
                </a:ext>
              </a:extLst>
            </p:cNvPr>
            <p:cNvSpPr/>
            <p:nvPr/>
          </p:nvSpPr>
          <p:spPr bwMode="auto">
            <a:xfrm rot="1837160">
              <a:off x="5642559" y="6131270"/>
              <a:ext cx="131692" cy="8502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8A4C10D1-B500-4887-9D2C-7C9A30E6CC7C}"/>
              </a:ext>
            </a:extLst>
          </p:cNvPr>
          <p:cNvSpPr txBox="1"/>
          <p:nvPr userDrawn="1"/>
        </p:nvSpPr>
        <p:spPr>
          <a:xfrm>
            <a:off x="880116" y="5809106"/>
            <a:ext cx="11056686" cy="307777"/>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Build, extend, and enrich a connected experience across data, workflow, and cloud scale analytics</a:t>
            </a:r>
            <a:endParaRPr kumimoji="0" lang="en-US" sz="1400" b="0" i="0" u="none" strike="noStrike" kern="120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173DB29C-DDE2-4C05-983B-34FCA006882B}"/>
              </a:ext>
            </a:extLst>
          </p:cNvPr>
          <p:cNvSpPr>
            <a:spLocks noGrp="1"/>
          </p:cNvSpPr>
          <p:nvPr>
            <p:ph type="body" sz="quarter" idx="10" hasCustomPrompt="1"/>
          </p:nvPr>
        </p:nvSpPr>
        <p:spPr>
          <a:xfrm>
            <a:off x="10218420" y="6404466"/>
            <a:ext cx="1554480" cy="276999"/>
          </a:xfrm>
        </p:spPr>
        <p:txBody>
          <a:bodyPr vert="horz" wrap="square" lIns="0" tIns="0" rIns="0" bIns="0" rtlCol="0">
            <a:spAutoFit/>
          </a:bodyPr>
          <a:lstStyle>
            <a:lvl1pPr>
              <a:buNone/>
              <a:defRPr kumimoji="0" lang="en-US" sz="1800" b="0" i="0" u="none" strike="noStrike" cap="none" normalizeH="0" dirty="0">
                <a:ln>
                  <a:noFill/>
                </a:ln>
                <a:solidFill>
                  <a:srgbClr val="50E6FF"/>
                </a:solidFill>
                <a:effectLst/>
                <a:uLnTx/>
                <a:uFillTx/>
                <a:latin typeface="Segoe UI"/>
              </a:defRPr>
            </a:lvl1pPr>
            <a:lvl2pPr>
              <a:buNone/>
              <a:defRPr lang="en-US" dirty="0" smtClean="0"/>
            </a:lvl2pPr>
            <a:lvl3pPr>
              <a:buNone/>
              <a:defRPr lang="en-US" dirty="0" smtClean="0"/>
            </a:lvl3pPr>
            <a:lvl4pPr>
              <a:buNone/>
              <a:defRPr lang="en-US" dirty="0" smtClean="0"/>
            </a:lvl4pPr>
            <a:lvl5pPr>
              <a:buNone/>
              <a:defRPr lang="en-US" dirty="0"/>
            </a:lvl5pPr>
          </a:lstStyle>
          <a:p>
            <a:pPr marL="0" marR="0" lvl="0" indent="0" algn="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IN" sz="18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Private Preview</a:t>
            </a:r>
          </a:p>
        </p:txBody>
      </p:sp>
      <p:pic>
        <p:nvPicPr>
          <p:cNvPr id="15" name="Picture 2" descr="Image result for microsoft white logo">
            <a:extLst>
              <a:ext uri="{FF2B5EF4-FFF2-40B4-BE49-F238E27FC236}">
                <a16:creationId xmlns:a16="http://schemas.microsoft.com/office/drawing/2014/main" id="{442DC157-E1F5-4306-A383-0E66A5A343F6}"/>
              </a:ext>
            </a:extLst>
          </p:cNvPr>
          <p:cNvPicPr>
            <a:picLocks noChangeArrowheads="1"/>
          </p:cNvPicPr>
          <p:nvPr userDrawn="1"/>
        </p:nvPicPr>
        <p:blipFill rotWithShape="1">
          <a:blip r:embed="rId3" cstate="hqprint">
            <a:extLst>
              <a:ext uri="{28A0092B-C50C-407E-A947-70E740481C1C}">
                <a14:useLocalDpi xmlns:a14="http://schemas.microsoft.com/office/drawing/2010/main" val="0"/>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26" name="Footer Placeholder 1">
            <a:extLst>
              <a:ext uri="{FF2B5EF4-FFF2-40B4-BE49-F238E27FC236}">
                <a16:creationId xmlns:a16="http://schemas.microsoft.com/office/drawing/2014/main" id="{57448E8B-7BA3-4471-81A2-E1887B34B6E3}"/>
              </a:ext>
            </a:extLst>
          </p:cNvPr>
          <p:cNvSpPr txBox="1">
            <a:spLocks/>
          </p:cNvSpPr>
          <p:nvPr userDrawn="1"/>
        </p:nvSpPr>
        <p:spPr>
          <a:xfrm>
            <a:off x="494728" y="6607631"/>
            <a:ext cx="1884935" cy="215444"/>
          </a:xfrm>
          <a:prstGeom prst="rect">
            <a:avLst/>
          </a:prstGeom>
        </p:spPr>
        <p:txBody>
          <a:bodyPr wrap="square">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Internal only</a:t>
            </a:r>
          </a:p>
        </p:txBody>
      </p:sp>
    </p:spTree>
    <p:extLst>
      <p:ext uri="{BB962C8B-B14F-4D97-AF65-F5344CB8AC3E}">
        <p14:creationId xmlns:p14="http://schemas.microsoft.com/office/powerpoint/2010/main" val="2198545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left)">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36">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quare photo">
    <p:bg>
      <p:bgPr>
        <a:solidFill>
          <a:schemeClr val="accent2">
            <a:lumMod val="75000"/>
          </a:schemeClr>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C5B6613-8565-4160-AA3D-B85410120C9C}"/>
              </a:ext>
            </a:extLst>
          </p:cNvPr>
          <p:cNvGrpSpPr/>
          <p:nvPr userDrawn="1"/>
        </p:nvGrpSpPr>
        <p:grpSpPr>
          <a:xfrm>
            <a:off x="-1438311" y="1058290"/>
            <a:ext cx="5400711" cy="5400668"/>
            <a:chOff x="154596" y="2281412"/>
            <a:chExt cx="394433" cy="394430"/>
          </a:xfrm>
        </p:grpSpPr>
        <p:sp>
          <p:nvSpPr>
            <p:cNvPr id="14" name="Freeform 89">
              <a:extLst>
                <a:ext uri="{FF2B5EF4-FFF2-40B4-BE49-F238E27FC236}">
                  <a16:creationId xmlns:a16="http://schemas.microsoft.com/office/drawing/2014/main" id="{3B764FEC-AB83-4F27-AB8A-2BC47EDBCE1B}"/>
                </a:ext>
              </a:extLst>
            </p:cNvPr>
            <p:cNvSpPr>
              <a:spLocks/>
            </p:cNvSpPr>
            <p:nvPr/>
          </p:nvSpPr>
          <p:spPr bwMode="auto">
            <a:xfrm>
              <a:off x="471659" y="2489246"/>
              <a:ext cx="77370" cy="121363"/>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5" name="Freeform 90">
              <a:extLst>
                <a:ext uri="{FF2B5EF4-FFF2-40B4-BE49-F238E27FC236}">
                  <a16:creationId xmlns:a16="http://schemas.microsoft.com/office/drawing/2014/main" id="{9C69E9FD-CE78-4D2E-AD1E-C63107F3AE8A}"/>
                </a:ext>
              </a:extLst>
            </p:cNvPr>
            <p:cNvSpPr>
              <a:spLocks/>
            </p:cNvSpPr>
            <p:nvPr/>
          </p:nvSpPr>
          <p:spPr bwMode="auto">
            <a:xfrm>
              <a:off x="154596" y="2346645"/>
              <a:ext cx="80404" cy="121363"/>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6" name="Freeform 91">
              <a:extLst>
                <a:ext uri="{FF2B5EF4-FFF2-40B4-BE49-F238E27FC236}">
                  <a16:creationId xmlns:a16="http://schemas.microsoft.com/office/drawing/2014/main" id="{8AAA5BE6-12D1-44A7-AF43-F29B089941C5}"/>
                </a:ext>
              </a:extLst>
            </p:cNvPr>
            <p:cNvSpPr>
              <a:spLocks/>
            </p:cNvSpPr>
            <p:nvPr/>
          </p:nvSpPr>
          <p:spPr bwMode="auto">
            <a:xfrm>
              <a:off x="221346" y="2595439"/>
              <a:ext cx="121364" cy="8040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7" name="Freeform 92">
              <a:extLst>
                <a:ext uri="{FF2B5EF4-FFF2-40B4-BE49-F238E27FC236}">
                  <a16:creationId xmlns:a16="http://schemas.microsoft.com/office/drawing/2014/main" id="{AC0E16FC-EE90-4A58-AA2B-8EB1D13D55BF}"/>
                </a:ext>
              </a:extLst>
            </p:cNvPr>
            <p:cNvSpPr>
              <a:spLocks/>
            </p:cNvSpPr>
            <p:nvPr/>
          </p:nvSpPr>
          <p:spPr bwMode="auto">
            <a:xfrm>
              <a:off x="154596" y="2489246"/>
              <a:ext cx="80404" cy="121363"/>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8" name="Freeform 93">
              <a:extLst>
                <a:ext uri="{FF2B5EF4-FFF2-40B4-BE49-F238E27FC236}">
                  <a16:creationId xmlns:a16="http://schemas.microsoft.com/office/drawing/2014/main" id="{ED43D15B-D4A4-434F-B0CB-F31BAE5925C9}"/>
                </a:ext>
              </a:extLst>
            </p:cNvPr>
            <p:cNvSpPr>
              <a:spLocks/>
            </p:cNvSpPr>
            <p:nvPr/>
          </p:nvSpPr>
          <p:spPr bwMode="auto">
            <a:xfrm>
              <a:off x="471659" y="2346645"/>
              <a:ext cx="77370" cy="121363"/>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0" name="Freeform 94">
              <a:extLst>
                <a:ext uri="{FF2B5EF4-FFF2-40B4-BE49-F238E27FC236}">
                  <a16:creationId xmlns:a16="http://schemas.microsoft.com/office/drawing/2014/main" id="{36C84FD3-AAD8-468D-B7FD-A551B2DD4116}"/>
                </a:ext>
              </a:extLst>
            </p:cNvPr>
            <p:cNvSpPr>
              <a:spLocks/>
            </p:cNvSpPr>
            <p:nvPr/>
          </p:nvSpPr>
          <p:spPr bwMode="auto">
            <a:xfrm>
              <a:off x="362432" y="2595439"/>
              <a:ext cx="122881" cy="8040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1" name="Freeform 95">
              <a:extLst>
                <a:ext uri="{FF2B5EF4-FFF2-40B4-BE49-F238E27FC236}">
                  <a16:creationId xmlns:a16="http://schemas.microsoft.com/office/drawing/2014/main" id="{40449E8D-1665-4DAC-BB3C-5CA02705542B}"/>
                </a:ext>
              </a:extLst>
            </p:cNvPr>
            <p:cNvSpPr>
              <a:spLocks/>
            </p:cNvSpPr>
            <p:nvPr/>
          </p:nvSpPr>
          <p:spPr bwMode="auto">
            <a:xfrm>
              <a:off x="363949" y="2281412"/>
              <a:ext cx="121364" cy="78886"/>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2" name="Freeform 96">
              <a:extLst>
                <a:ext uri="{FF2B5EF4-FFF2-40B4-BE49-F238E27FC236}">
                  <a16:creationId xmlns:a16="http://schemas.microsoft.com/office/drawing/2014/main" id="{FC559D39-21CA-43DE-B75E-2A34459C160E}"/>
                </a:ext>
              </a:extLst>
            </p:cNvPr>
            <p:cNvSpPr>
              <a:spLocks/>
            </p:cNvSpPr>
            <p:nvPr/>
          </p:nvSpPr>
          <p:spPr bwMode="auto">
            <a:xfrm>
              <a:off x="221346" y="2281412"/>
              <a:ext cx="121364" cy="78886"/>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3" name="Freeform 97">
              <a:extLst>
                <a:ext uri="{FF2B5EF4-FFF2-40B4-BE49-F238E27FC236}">
                  <a16:creationId xmlns:a16="http://schemas.microsoft.com/office/drawing/2014/main" id="{632445B9-5495-422C-B05B-927444BF880E}"/>
                </a:ext>
              </a:extLst>
            </p:cNvPr>
            <p:cNvSpPr>
              <a:spLocks/>
            </p:cNvSpPr>
            <p:nvPr/>
          </p:nvSpPr>
          <p:spPr bwMode="auto">
            <a:xfrm>
              <a:off x="248653" y="2407326"/>
              <a:ext cx="210870" cy="122880"/>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FFFFFF">
                <a:alpha val="10000"/>
              </a:srgbClr>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pic>
        <p:nvPicPr>
          <p:cNvPr id="7" name="MS logo white - EMF" descr="Microsoft logo">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25" name="Text Placeholder 2">
            <a:extLst>
              <a:ext uri="{FF2B5EF4-FFF2-40B4-BE49-F238E27FC236}">
                <a16:creationId xmlns:a16="http://schemas.microsoft.com/office/drawing/2014/main" id="{1FB8463D-9031-474C-B9AA-211B481339ED}"/>
              </a:ext>
            </a:extLst>
          </p:cNvPr>
          <p:cNvSpPr txBox="1">
            <a:spLocks/>
          </p:cNvSpPr>
          <p:nvPr userDrawn="1"/>
        </p:nvSpPr>
        <p:spPr>
          <a:xfrm>
            <a:off x="1128662" y="1599399"/>
            <a:ext cx="3281413" cy="707886"/>
          </a:xfrm>
          <a:prstGeom prst="rect">
            <a:avLst/>
          </a:prstGeom>
        </p:spPr>
        <p:txBody>
          <a:bodyP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chemeClr val="tx1"/>
                </a:solidFill>
                <a:effectLst/>
                <a:uLnTx/>
                <a:uFillTx/>
                <a:ea typeface="+mn-ea"/>
                <a:cs typeface="Segoe UI" panose="020B0502040204020203" pitchFamily="34" charset="0"/>
              </a:rPr>
              <a:t>Microsoft Cloud for Financial Services</a:t>
            </a:r>
          </a:p>
        </p:txBody>
      </p:sp>
      <p:grpSp>
        <p:nvGrpSpPr>
          <p:cNvPr id="26" name="Group 25">
            <a:extLst>
              <a:ext uri="{FF2B5EF4-FFF2-40B4-BE49-F238E27FC236}">
                <a16:creationId xmlns:a16="http://schemas.microsoft.com/office/drawing/2014/main" id="{F7B75396-29D2-44A3-A5AD-AAC2FCE8398C}"/>
              </a:ext>
            </a:extLst>
          </p:cNvPr>
          <p:cNvGrpSpPr/>
          <p:nvPr userDrawn="1"/>
        </p:nvGrpSpPr>
        <p:grpSpPr>
          <a:xfrm>
            <a:off x="582042" y="1730204"/>
            <a:ext cx="446276" cy="446276"/>
            <a:chOff x="997658" y="5928725"/>
            <a:chExt cx="601980" cy="601980"/>
          </a:xfrm>
        </p:grpSpPr>
        <p:sp>
          <p:nvSpPr>
            <p:cNvPr id="27" name="Oval 26">
              <a:extLst>
                <a:ext uri="{FF2B5EF4-FFF2-40B4-BE49-F238E27FC236}">
                  <a16:creationId xmlns:a16="http://schemas.microsoft.com/office/drawing/2014/main" id="{3373F39C-B8CA-46C8-9004-C3C9413A61C8}"/>
                </a:ext>
              </a:extLst>
            </p:cNvPr>
            <p:cNvSpPr/>
            <p:nvPr/>
          </p:nvSpPr>
          <p:spPr bwMode="auto">
            <a:xfrm>
              <a:off x="997658" y="5928725"/>
              <a:ext cx="601980" cy="601980"/>
            </a:xfrm>
            <a:prstGeom prst="ellipse">
              <a:avLst/>
            </a:prstGeom>
            <a:noFill/>
            <a:ln w="12700" cap="flat" cmpd="sng" algn="ctr">
              <a:solidFill>
                <a:srgbClr val="FFFFFF"/>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28" name="data 3" descr="data, cloud, scale">
              <a:extLst>
                <a:ext uri="{FF2B5EF4-FFF2-40B4-BE49-F238E27FC236}">
                  <a16:creationId xmlns:a16="http://schemas.microsoft.com/office/drawing/2014/main" id="{5BF65215-AD74-4538-ADE2-9F74F03F9371}"/>
                </a:ext>
              </a:extLst>
            </p:cNvPr>
            <p:cNvGrpSpPr>
              <a:grpSpLocks noChangeAspect="1"/>
            </p:cNvGrpSpPr>
            <p:nvPr/>
          </p:nvGrpSpPr>
          <p:grpSpPr bwMode="auto">
            <a:xfrm>
              <a:off x="1100674" y="6032501"/>
              <a:ext cx="395950" cy="394430"/>
              <a:chOff x="5781" y="773"/>
              <a:chExt cx="261" cy="260"/>
            </a:xfrm>
          </p:grpSpPr>
          <p:sp>
            <p:nvSpPr>
              <p:cNvPr id="29" name="AutoShape 87">
                <a:extLst>
                  <a:ext uri="{FF2B5EF4-FFF2-40B4-BE49-F238E27FC236}">
                    <a16:creationId xmlns:a16="http://schemas.microsoft.com/office/drawing/2014/main" id="{9E4F05EB-97B5-4824-B2E9-C33BA2DC21CD}"/>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Freeform 89">
                <a:extLst>
                  <a:ext uri="{FF2B5EF4-FFF2-40B4-BE49-F238E27FC236}">
                    <a16:creationId xmlns:a16="http://schemas.microsoft.com/office/drawing/2014/main" id="{AE05FEED-E695-44A4-8529-9457F9ACC4CA}"/>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90">
                <a:extLst>
                  <a:ext uri="{FF2B5EF4-FFF2-40B4-BE49-F238E27FC236}">
                    <a16:creationId xmlns:a16="http://schemas.microsoft.com/office/drawing/2014/main" id="{59A0863B-18A4-489E-B631-FA0018CEE5E6}"/>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2" name="Freeform 91">
                <a:extLst>
                  <a:ext uri="{FF2B5EF4-FFF2-40B4-BE49-F238E27FC236}">
                    <a16:creationId xmlns:a16="http://schemas.microsoft.com/office/drawing/2014/main" id="{AB8C658C-5081-4E57-A132-7688F37D03B4}"/>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92">
                <a:extLst>
                  <a:ext uri="{FF2B5EF4-FFF2-40B4-BE49-F238E27FC236}">
                    <a16:creationId xmlns:a16="http://schemas.microsoft.com/office/drawing/2014/main" id="{679DC584-0761-41C6-9201-92F88BDF7B60}"/>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 name="Freeform 93">
                <a:extLst>
                  <a:ext uri="{FF2B5EF4-FFF2-40B4-BE49-F238E27FC236}">
                    <a16:creationId xmlns:a16="http://schemas.microsoft.com/office/drawing/2014/main" id="{826733BB-A1C7-4B97-BB36-BA204ADC3D3C}"/>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 name="Freeform 94">
                <a:extLst>
                  <a:ext uri="{FF2B5EF4-FFF2-40B4-BE49-F238E27FC236}">
                    <a16:creationId xmlns:a16="http://schemas.microsoft.com/office/drawing/2014/main" id="{90133D18-FF79-4066-A933-4D81BF7C7E5D}"/>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 name="Freeform 95">
                <a:extLst>
                  <a:ext uri="{FF2B5EF4-FFF2-40B4-BE49-F238E27FC236}">
                    <a16:creationId xmlns:a16="http://schemas.microsoft.com/office/drawing/2014/main" id="{A732793B-D4A7-4B5A-9DC4-65B861C6626F}"/>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96">
                <a:extLst>
                  <a:ext uri="{FF2B5EF4-FFF2-40B4-BE49-F238E27FC236}">
                    <a16:creationId xmlns:a16="http://schemas.microsoft.com/office/drawing/2014/main" id="{9C80C1B1-07FF-479E-BE3C-A80169963E4A}"/>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97">
                <a:extLst>
                  <a:ext uri="{FF2B5EF4-FFF2-40B4-BE49-F238E27FC236}">
                    <a16:creationId xmlns:a16="http://schemas.microsoft.com/office/drawing/2014/main" id="{6BC9CDB4-065B-4E2C-807C-B95C9D96E878}"/>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cxnSp>
        <p:nvCxnSpPr>
          <p:cNvPr id="45" name="Straight Connector 44">
            <a:extLst>
              <a:ext uri="{FF2B5EF4-FFF2-40B4-BE49-F238E27FC236}">
                <a16:creationId xmlns:a16="http://schemas.microsoft.com/office/drawing/2014/main" id="{54973DE5-69C7-428E-8DFE-2043D698CC33}"/>
              </a:ext>
            </a:extLst>
          </p:cNvPr>
          <p:cNvCxnSpPr>
            <a:cxnSpLocks/>
          </p:cNvCxnSpPr>
          <p:nvPr userDrawn="1"/>
        </p:nvCxnSpPr>
        <p:spPr>
          <a:xfrm>
            <a:off x="588963" y="2414678"/>
            <a:ext cx="4167187" cy="0"/>
          </a:xfrm>
          <a:prstGeom prst="line">
            <a:avLst/>
          </a:prstGeom>
          <a:noFill/>
          <a:ln w="12700" cap="flat" cmpd="sng" algn="ctr">
            <a:solidFill>
              <a:srgbClr val="50E6FF"/>
            </a:solidFill>
            <a:prstDash val="solid"/>
            <a:headEnd type="none" w="med" len="med"/>
            <a:tailEnd type="none" w="med" len="med"/>
          </a:ln>
          <a:effectLst/>
        </p:spPr>
      </p:cxnSp>
      <p:cxnSp>
        <p:nvCxnSpPr>
          <p:cNvPr id="46" name="Straight Connector 45">
            <a:extLst>
              <a:ext uri="{FF2B5EF4-FFF2-40B4-BE49-F238E27FC236}">
                <a16:creationId xmlns:a16="http://schemas.microsoft.com/office/drawing/2014/main" id="{F6A413B6-15E6-46F9-8DDF-1FC7F3FF6394}"/>
              </a:ext>
            </a:extLst>
          </p:cNvPr>
          <p:cNvCxnSpPr>
            <a:cxnSpLocks/>
          </p:cNvCxnSpPr>
          <p:nvPr userDrawn="1"/>
        </p:nvCxnSpPr>
        <p:spPr>
          <a:xfrm flipV="1">
            <a:off x="612914" y="4028820"/>
            <a:ext cx="1177379" cy="0"/>
          </a:xfrm>
          <a:prstGeom prst="line">
            <a:avLst/>
          </a:prstGeom>
          <a:noFill/>
          <a:ln w="12700" cap="flat" cmpd="sng" algn="ctr">
            <a:solidFill>
              <a:srgbClr val="50E6FF"/>
            </a:solidFill>
            <a:prstDash val="solid"/>
            <a:headEnd type="oval" w="med" len="med"/>
            <a:tailEnd type="none" w="lg" len="med"/>
          </a:ln>
          <a:effectLst/>
        </p:spPr>
      </p:cxnSp>
      <p:cxnSp>
        <p:nvCxnSpPr>
          <p:cNvPr id="47" name="Straight Connector 46">
            <a:extLst>
              <a:ext uri="{FF2B5EF4-FFF2-40B4-BE49-F238E27FC236}">
                <a16:creationId xmlns:a16="http://schemas.microsoft.com/office/drawing/2014/main" id="{23FD5CB9-75A6-433A-8AAB-DBD282FF2649}"/>
              </a:ext>
            </a:extLst>
          </p:cNvPr>
          <p:cNvCxnSpPr>
            <a:cxnSpLocks/>
          </p:cNvCxnSpPr>
          <p:nvPr userDrawn="1"/>
        </p:nvCxnSpPr>
        <p:spPr>
          <a:xfrm flipH="1" flipV="1">
            <a:off x="3554819" y="4028820"/>
            <a:ext cx="1040906" cy="0"/>
          </a:xfrm>
          <a:prstGeom prst="line">
            <a:avLst/>
          </a:prstGeom>
          <a:noFill/>
          <a:ln w="12700" cap="flat" cmpd="sng" algn="ctr">
            <a:solidFill>
              <a:srgbClr val="50E6FF"/>
            </a:solidFill>
            <a:prstDash val="solid"/>
            <a:headEnd type="oval" w="med" len="med"/>
            <a:tailEnd type="none" w="lg" len="med"/>
          </a:ln>
          <a:effectLst/>
        </p:spPr>
      </p:cxnSp>
      <p:sp>
        <p:nvSpPr>
          <p:cNvPr id="5" name="Text Placeholder 4">
            <a:extLst>
              <a:ext uri="{FF2B5EF4-FFF2-40B4-BE49-F238E27FC236}">
                <a16:creationId xmlns:a16="http://schemas.microsoft.com/office/drawing/2014/main" id="{6401D9F9-22AE-4F57-A57A-A11992D91972}"/>
              </a:ext>
            </a:extLst>
          </p:cNvPr>
          <p:cNvSpPr>
            <a:spLocks noGrp="1"/>
          </p:cNvSpPr>
          <p:nvPr>
            <p:ph type="body" sz="quarter" idx="10" hasCustomPrompt="1"/>
          </p:nvPr>
        </p:nvSpPr>
        <p:spPr>
          <a:xfrm>
            <a:off x="1790293" y="3888534"/>
            <a:ext cx="1765300" cy="276999"/>
          </a:xfrm>
          <a:solidFill>
            <a:schemeClr val="accent2">
              <a:lumMod val="75000"/>
            </a:schemeClr>
          </a:solidFill>
        </p:spPr>
        <p:txBody>
          <a:bodyPr wrap="square" anchor="ctr">
            <a:spAutoFit/>
          </a:bodyPr>
          <a:lstStyle>
            <a:lvl1pPr algn="ctr">
              <a:buNone/>
              <a:defRPr kumimoji="0" lang="en-US" sz="1800" b="0" i="0" u="none" strike="noStrike" cap="none" normalizeH="0" smtClean="0">
                <a:ln>
                  <a:noFill/>
                </a:ln>
                <a:solidFill>
                  <a:schemeClr val="tx1"/>
                </a:solidFill>
                <a:effectLst/>
                <a:uLnTx/>
                <a:uFillTx/>
                <a:latin typeface="+mn-lt"/>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US" sz="1800">
                <a:solidFill>
                  <a:schemeClr val="tx1"/>
                </a:solidFill>
              </a:defRPr>
            </a:lvl5pPr>
          </a:lstStyle>
          <a:p>
            <a:pPr marL="228600" lvl="0" indent="-228600" algn="ctr"/>
            <a:r>
              <a:rPr lang="en-US"/>
              <a:t>Private Preview</a:t>
            </a:r>
          </a:p>
        </p:txBody>
      </p:sp>
      <p:sp>
        <p:nvSpPr>
          <p:cNvPr id="2" name="Freeform: Shape 1">
            <a:extLst>
              <a:ext uri="{FF2B5EF4-FFF2-40B4-BE49-F238E27FC236}">
                <a16:creationId xmlns:a16="http://schemas.microsoft.com/office/drawing/2014/main" id="{3400D973-3723-4346-81A6-71D3B4EE0799}"/>
              </a:ext>
            </a:extLst>
          </p:cNvPr>
          <p:cNvSpPr/>
          <p:nvPr userDrawn="1"/>
        </p:nvSpPr>
        <p:spPr bwMode="auto">
          <a:xfrm>
            <a:off x="5379719" y="45720"/>
            <a:ext cx="6766560" cy="676656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ln w="0"/>
              <a:solidFill>
                <a:schemeClr val="tx1"/>
              </a:solidFill>
              <a:effectLst>
                <a:outerShdw blurRad="38100" dist="19050" dir="2700000" algn="tl" rotWithShape="0">
                  <a:schemeClr val="dk1">
                    <a:alpha val="40000"/>
                  </a:schemeClr>
                </a:outerShdw>
              </a:effectLst>
              <a:ea typeface="Segoe UI" pitchFamily="34" charset="0"/>
              <a:cs typeface="Segoe UI" pitchFamily="34" charset="0"/>
            </a:endParaRPr>
          </a:p>
        </p:txBody>
      </p:sp>
      <p:pic>
        <p:nvPicPr>
          <p:cNvPr id="3" name="Picture 2" descr="A picture containing sitting, light, table, street&#10;&#10;Description automatically generated">
            <a:extLst>
              <a:ext uri="{FF2B5EF4-FFF2-40B4-BE49-F238E27FC236}">
                <a16:creationId xmlns:a16="http://schemas.microsoft.com/office/drawing/2014/main" id="{96754DEA-124B-4298-8DA3-DB2D2BFAC4C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909075" y="90831"/>
            <a:ext cx="2192365" cy="2180937"/>
          </a:xfrm>
          <a:custGeom>
            <a:avLst/>
            <a:gdLst>
              <a:gd name="connsiteX0" fmla="*/ 0 w 2192365"/>
              <a:gd name="connsiteY0" fmla="*/ 0 h 2180937"/>
              <a:gd name="connsiteX1" fmla="*/ 2192365 w 2192365"/>
              <a:gd name="connsiteY1" fmla="*/ 0 h 2180937"/>
              <a:gd name="connsiteX2" fmla="*/ 2192365 w 2192365"/>
              <a:gd name="connsiteY2" fmla="*/ 2180937 h 2180937"/>
              <a:gd name="connsiteX3" fmla="*/ 0 w 2192365"/>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2192365" h="2180937">
                <a:moveTo>
                  <a:pt x="0" y="0"/>
                </a:moveTo>
                <a:lnTo>
                  <a:pt x="2192365" y="0"/>
                </a:lnTo>
                <a:lnTo>
                  <a:pt x="2192365" y="2180937"/>
                </a:lnTo>
                <a:lnTo>
                  <a:pt x="0" y="2180937"/>
                </a:lnTo>
                <a:close/>
              </a:path>
            </a:pathLst>
          </a:custGeom>
        </p:spPr>
      </p:pic>
      <p:pic>
        <p:nvPicPr>
          <p:cNvPr id="6" name="Picture 5" descr="A large brick building&#10;&#10;Description automatically generated">
            <a:extLst>
              <a:ext uri="{FF2B5EF4-FFF2-40B4-BE49-F238E27FC236}">
                <a16:creationId xmlns:a16="http://schemas.microsoft.com/office/drawing/2014/main" id="{F517718D-55F9-41FA-8A18-DCF989E8FA8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424830" y="90832"/>
            <a:ext cx="4434485" cy="2180937"/>
          </a:xfrm>
          <a:custGeom>
            <a:avLst/>
            <a:gdLst>
              <a:gd name="connsiteX0" fmla="*/ 0 w 4434485"/>
              <a:gd name="connsiteY0" fmla="*/ 0 h 2180937"/>
              <a:gd name="connsiteX1" fmla="*/ 4434485 w 4434485"/>
              <a:gd name="connsiteY1" fmla="*/ 0 h 2180937"/>
              <a:gd name="connsiteX2" fmla="*/ 4434485 w 4434485"/>
              <a:gd name="connsiteY2" fmla="*/ 2180937 h 2180937"/>
              <a:gd name="connsiteX3" fmla="*/ 0 w 4434485"/>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5" h="2180937">
                <a:moveTo>
                  <a:pt x="0" y="0"/>
                </a:moveTo>
                <a:lnTo>
                  <a:pt x="4434485" y="0"/>
                </a:lnTo>
                <a:lnTo>
                  <a:pt x="4434485" y="2180937"/>
                </a:lnTo>
                <a:lnTo>
                  <a:pt x="0" y="2180937"/>
                </a:lnTo>
                <a:close/>
              </a:path>
            </a:pathLst>
          </a:custGeom>
        </p:spPr>
      </p:pic>
      <p:pic>
        <p:nvPicPr>
          <p:cNvPr id="8" name="Picture 7" descr="A picture containing sitting, monitor, surface, table&#10;&#10;Description automatically generated">
            <a:extLst>
              <a:ext uri="{FF2B5EF4-FFF2-40B4-BE49-F238E27FC236}">
                <a16:creationId xmlns:a16="http://schemas.microsoft.com/office/drawing/2014/main" id="{72324CC7-85D8-4637-BAC8-8B61E4A8C1A9}"/>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9909074" y="4586234"/>
            <a:ext cx="2192365" cy="2181207"/>
          </a:xfrm>
          <a:custGeom>
            <a:avLst/>
            <a:gdLst>
              <a:gd name="connsiteX0" fmla="*/ 0 w 2192365"/>
              <a:gd name="connsiteY0" fmla="*/ 0 h 2181207"/>
              <a:gd name="connsiteX1" fmla="*/ 2192365 w 2192365"/>
              <a:gd name="connsiteY1" fmla="*/ 0 h 2181207"/>
              <a:gd name="connsiteX2" fmla="*/ 2192365 w 2192365"/>
              <a:gd name="connsiteY2" fmla="*/ 2181207 h 2181207"/>
              <a:gd name="connsiteX3" fmla="*/ 0 w 2192365"/>
              <a:gd name="connsiteY3" fmla="*/ 2181207 h 2181207"/>
            </a:gdLst>
            <a:ahLst/>
            <a:cxnLst>
              <a:cxn ang="0">
                <a:pos x="connsiteX0" y="connsiteY0"/>
              </a:cxn>
              <a:cxn ang="0">
                <a:pos x="connsiteX1" y="connsiteY1"/>
              </a:cxn>
              <a:cxn ang="0">
                <a:pos x="connsiteX2" y="connsiteY2"/>
              </a:cxn>
              <a:cxn ang="0">
                <a:pos x="connsiteX3" y="connsiteY3"/>
              </a:cxn>
            </a:cxnLst>
            <a:rect l="l" t="t" r="r" b="b"/>
            <a:pathLst>
              <a:path w="2192365" h="2181207">
                <a:moveTo>
                  <a:pt x="0" y="0"/>
                </a:moveTo>
                <a:lnTo>
                  <a:pt x="2192365" y="0"/>
                </a:lnTo>
                <a:lnTo>
                  <a:pt x="2192365" y="2181207"/>
                </a:lnTo>
                <a:lnTo>
                  <a:pt x="0" y="2181207"/>
                </a:lnTo>
                <a:close/>
              </a:path>
            </a:pathLst>
          </a:custGeom>
        </p:spPr>
      </p:pic>
      <p:pic>
        <p:nvPicPr>
          <p:cNvPr id="9" name="Picture 8">
            <a:extLst>
              <a:ext uri="{FF2B5EF4-FFF2-40B4-BE49-F238E27FC236}">
                <a16:creationId xmlns:a16="http://schemas.microsoft.com/office/drawing/2014/main" id="{9026C8E2-BF3E-4B38-B211-EBAB31FBAF0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5424829" y="4586231"/>
            <a:ext cx="4434486" cy="2181210"/>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p:spPr>
      </p:pic>
      <p:pic>
        <p:nvPicPr>
          <p:cNvPr id="10" name="Picture 9" descr="A circuit board&#10;&#10;Description automatically generated">
            <a:extLst>
              <a:ext uri="{FF2B5EF4-FFF2-40B4-BE49-F238E27FC236}">
                <a16:creationId xmlns:a16="http://schemas.microsoft.com/office/drawing/2014/main" id="{2D79C2E6-FA75-471D-9598-DC3E0069513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5424831" y="2315074"/>
            <a:ext cx="6676608" cy="2226046"/>
          </a:xfrm>
          <a:custGeom>
            <a:avLst/>
            <a:gdLst>
              <a:gd name="connsiteX0" fmla="*/ 0 w 6676608"/>
              <a:gd name="connsiteY0" fmla="*/ 0 h 2226046"/>
              <a:gd name="connsiteX1" fmla="*/ 6676608 w 6676608"/>
              <a:gd name="connsiteY1" fmla="*/ 0 h 2226046"/>
              <a:gd name="connsiteX2" fmla="*/ 6676608 w 6676608"/>
              <a:gd name="connsiteY2" fmla="*/ 2226046 h 2226046"/>
              <a:gd name="connsiteX3" fmla="*/ 0 w 6676608"/>
              <a:gd name="connsiteY3" fmla="*/ 2226046 h 2226046"/>
            </a:gdLst>
            <a:ahLst/>
            <a:cxnLst>
              <a:cxn ang="0">
                <a:pos x="connsiteX0" y="connsiteY0"/>
              </a:cxn>
              <a:cxn ang="0">
                <a:pos x="connsiteX1" y="connsiteY1"/>
              </a:cxn>
              <a:cxn ang="0">
                <a:pos x="connsiteX2" y="connsiteY2"/>
              </a:cxn>
              <a:cxn ang="0">
                <a:pos x="connsiteX3" y="connsiteY3"/>
              </a:cxn>
            </a:cxnLst>
            <a:rect l="l" t="t" r="r" b="b"/>
            <a:pathLst>
              <a:path w="6676608" h="2226046">
                <a:moveTo>
                  <a:pt x="0" y="0"/>
                </a:moveTo>
                <a:lnTo>
                  <a:pt x="6676608" y="0"/>
                </a:lnTo>
                <a:lnTo>
                  <a:pt x="6676608" y="2226046"/>
                </a:lnTo>
                <a:lnTo>
                  <a:pt x="0" y="2226046"/>
                </a:lnTo>
                <a:close/>
              </a:path>
            </a:pathLst>
          </a:custGeom>
        </p:spPr>
      </p:pic>
      <p:sp>
        <p:nvSpPr>
          <p:cNvPr id="11" name="Footer Placeholder 1">
            <a:extLst>
              <a:ext uri="{FF2B5EF4-FFF2-40B4-BE49-F238E27FC236}">
                <a16:creationId xmlns:a16="http://schemas.microsoft.com/office/drawing/2014/main" id="{EEEC8611-7840-40DA-82A0-6EE102610226}"/>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 2020 Microsoft Corporation All rights reserved. </a:t>
            </a:r>
          </a:p>
        </p:txBody>
      </p:sp>
      <p:sp>
        <p:nvSpPr>
          <p:cNvPr id="40" name="Title 1">
            <a:extLst>
              <a:ext uri="{FF2B5EF4-FFF2-40B4-BE49-F238E27FC236}">
                <a16:creationId xmlns:a16="http://schemas.microsoft.com/office/drawing/2014/main" id="{B316575D-4909-4F24-8B73-A0FA42B0B4AA}"/>
              </a:ext>
            </a:extLst>
          </p:cNvPr>
          <p:cNvSpPr>
            <a:spLocks noGrp="1"/>
          </p:cNvSpPr>
          <p:nvPr>
            <p:ph type="title"/>
          </p:nvPr>
        </p:nvSpPr>
        <p:spPr>
          <a:xfrm>
            <a:off x="588263" y="2671763"/>
            <a:ext cx="4167187" cy="430887"/>
          </a:xfrm>
        </p:spPr>
        <p:txBody>
          <a:bodyPr/>
          <a:lstStyle>
            <a:lvl1pPr>
              <a:defRPr sz="2800">
                <a:solidFill>
                  <a:srgbClr val="50E6FF"/>
                </a:solidFill>
              </a:defRPr>
            </a:lvl1pPr>
          </a:lstStyle>
          <a:p>
            <a:r>
              <a:rPr lang="en-US"/>
              <a:t>Click to edit Master title style</a:t>
            </a:r>
          </a:p>
        </p:txBody>
      </p:sp>
    </p:spTree>
    <p:extLst>
      <p:ext uri="{BB962C8B-B14F-4D97-AF65-F5344CB8AC3E}">
        <p14:creationId xmlns:p14="http://schemas.microsoft.com/office/powerpoint/2010/main" val="4263805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Dark Background">
    <p:bg>
      <p:bgPr>
        <a:solidFill>
          <a:schemeClr val="accent2">
            <a:lumMod val="75000"/>
          </a:schemeClr>
        </a:solidFill>
        <a:effectLst/>
      </p:bgPr>
    </p:bg>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967176FE-DDBD-4AA6-AD69-A11D2B58F572}"/>
              </a:ext>
            </a:extLst>
          </p:cNvPr>
          <p:cNvSpPr>
            <a:spLocks noGrp="1"/>
          </p:cNvSpPr>
          <p:nvPr>
            <p:ph type="body" sz="quarter" idx="10" hasCustomPrompt="1"/>
          </p:nvPr>
        </p:nvSpPr>
        <p:spPr>
          <a:xfrm>
            <a:off x="586593" y="3828149"/>
            <a:ext cx="4167887" cy="430887"/>
          </a:xfrm>
        </p:spPr>
        <p:txBody>
          <a:bodyPr lIns="0" tIns="0" rIns="0" bIns="0"/>
          <a:lstStyle>
            <a:lvl1pPr>
              <a:buNone/>
              <a:defRPr>
                <a:solidFill>
                  <a:schemeClr val="bg1"/>
                </a:solidFill>
              </a:defRPr>
            </a:lvl1pPr>
          </a:lstStyle>
          <a:p>
            <a:r>
              <a:rPr lang="en-US"/>
              <a:t>Click to add text</a:t>
            </a:r>
          </a:p>
        </p:txBody>
      </p:sp>
      <p:sp>
        <p:nvSpPr>
          <p:cNvPr id="12" name="Title 1">
            <a:extLst>
              <a:ext uri="{FF2B5EF4-FFF2-40B4-BE49-F238E27FC236}">
                <a16:creationId xmlns:a16="http://schemas.microsoft.com/office/drawing/2014/main" id="{C8B625F3-3765-45F6-A49D-A87BAF8254A4}"/>
              </a:ext>
            </a:extLst>
          </p:cNvPr>
          <p:cNvSpPr>
            <a:spLocks noGrp="1"/>
          </p:cNvSpPr>
          <p:nvPr>
            <p:ph type="title" hasCustomPrompt="1"/>
          </p:nvPr>
        </p:nvSpPr>
        <p:spPr>
          <a:xfrm>
            <a:off x="586593" y="2872249"/>
            <a:ext cx="4167887" cy="553998"/>
          </a:xfrm>
        </p:spPr>
        <p:txBody>
          <a:bodyPr lIns="0" tIns="0" rIns="0" bIns="0" anchor="t" anchorCtr="0">
            <a:spAutoFit/>
          </a:bodyPr>
          <a:lstStyle>
            <a:lvl1pPr>
              <a:defRPr kumimoji="0" lang="en-US" sz="3600" b="0" i="0" u="none" strike="noStrike" kern="1200" cap="none" spc="-50" normalizeH="0" baseline="0" dirty="0">
                <a:ln w="3175">
                  <a:noFill/>
                </a:ln>
                <a:solidFill>
                  <a:srgbClr val="50E6FF"/>
                </a:solidFill>
                <a:effectLst/>
                <a:uLnTx/>
                <a:uFillTx/>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Title text</a:t>
            </a:r>
          </a:p>
        </p:txBody>
      </p:sp>
      <p:pic>
        <p:nvPicPr>
          <p:cNvPr id="6" name="Picture 5" descr="A close up of a busy city street&#10;&#10;Description automatically generated">
            <a:extLst>
              <a:ext uri="{FF2B5EF4-FFF2-40B4-BE49-F238E27FC236}">
                <a16:creationId xmlns:a16="http://schemas.microsoft.com/office/drawing/2014/main" id="{EEE3646E-9674-4198-9D46-EFA0FC7B3E8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334000" y="1"/>
            <a:ext cx="6858000" cy="6857999"/>
          </a:xfrm>
          <a:custGeom>
            <a:avLst/>
            <a:gdLst>
              <a:gd name="connsiteX0" fmla="*/ 0 w 6858000"/>
              <a:gd name="connsiteY0" fmla="*/ 0 h 6857999"/>
              <a:gd name="connsiteX1" fmla="*/ 6858000 w 6858000"/>
              <a:gd name="connsiteY1" fmla="*/ 0 h 6857999"/>
              <a:gd name="connsiteX2" fmla="*/ 6858000 w 6858000"/>
              <a:gd name="connsiteY2" fmla="*/ 6857999 h 6857999"/>
              <a:gd name="connsiteX3" fmla="*/ 0 w 6858000"/>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858000" h="6857999">
                <a:moveTo>
                  <a:pt x="0" y="0"/>
                </a:moveTo>
                <a:lnTo>
                  <a:pt x="6858000" y="0"/>
                </a:lnTo>
                <a:lnTo>
                  <a:pt x="6858000" y="6857999"/>
                </a:lnTo>
                <a:lnTo>
                  <a:pt x="0" y="6857999"/>
                </a:lnTo>
                <a:close/>
              </a:path>
            </a:pathLst>
          </a:custGeom>
        </p:spPr>
      </p:pic>
    </p:spTree>
    <p:extLst>
      <p:ext uri="{BB962C8B-B14F-4D97-AF65-F5344CB8AC3E}">
        <p14:creationId xmlns:p14="http://schemas.microsoft.com/office/powerpoint/2010/main" val="6111020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quare photo (Back)">
    <p:bg>
      <p:bgRef idx="1001">
        <a:schemeClr val="bg1"/>
      </p:bgRef>
    </p:bg>
    <p:spTree>
      <p:nvGrpSpPr>
        <p:cNvPr id="1" name=""/>
        <p:cNvGrpSpPr/>
        <p:nvPr/>
      </p:nvGrpSpPr>
      <p:grpSpPr>
        <a:xfrm>
          <a:off x="0" y="0"/>
          <a:ext cx="0" cy="0"/>
          <a:chOff x="0" y="0"/>
          <a:chExt cx="0" cy="0"/>
        </a:xfrm>
      </p:grpSpPr>
      <p:pic>
        <p:nvPicPr>
          <p:cNvPr id="28" name="Picture 27" descr="A large brick building&#10;&#10;Description automatically generated">
            <a:extLst>
              <a:ext uri="{FF2B5EF4-FFF2-40B4-BE49-F238E27FC236}">
                <a16:creationId xmlns:a16="http://schemas.microsoft.com/office/drawing/2014/main" id="{BC740077-4F5F-460A-8A83-73D86BDFE2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0"/>
            <a:ext cx="12191999" cy="5076100"/>
          </a:xfrm>
          <a:custGeom>
            <a:avLst/>
            <a:gdLst>
              <a:gd name="connsiteX0" fmla="*/ 0 w 12191999"/>
              <a:gd name="connsiteY0" fmla="*/ 0 h 5076100"/>
              <a:gd name="connsiteX1" fmla="*/ 12191999 w 12191999"/>
              <a:gd name="connsiteY1" fmla="*/ 0 h 5076100"/>
              <a:gd name="connsiteX2" fmla="*/ 12191999 w 12191999"/>
              <a:gd name="connsiteY2" fmla="*/ 5076100 h 5076100"/>
              <a:gd name="connsiteX3" fmla="*/ 0 w 12191999"/>
              <a:gd name="connsiteY3" fmla="*/ 5076100 h 5076100"/>
            </a:gdLst>
            <a:ahLst/>
            <a:cxnLst>
              <a:cxn ang="0">
                <a:pos x="connsiteX0" y="connsiteY0"/>
              </a:cxn>
              <a:cxn ang="0">
                <a:pos x="connsiteX1" y="connsiteY1"/>
              </a:cxn>
              <a:cxn ang="0">
                <a:pos x="connsiteX2" y="connsiteY2"/>
              </a:cxn>
              <a:cxn ang="0">
                <a:pos x="connsiteX3" y="connsiteY3"/>
              </a:cxn>
            </a:cxnLst>
            <a:rect l="l" t="t" r="r" b="b"/>
            <a:pathLst>
              <a:path w="12191999" h="5076100">
                <a:moveTo>
                  <a:pt x="0" y="0"/>
                </a:moveTo>
                <a:lnTo>
                  <a:pt x="12191999" y="0"/>
                </a:lnTo>
                <a:lnTo>
                  <a:pt x="12191999" y="5076100"/>
                </a:lnTo>
                <a:lnTo>
                  <a:pt x="0" y="5076100"/>
                </a:lnTo>
                <a:close/>
              </a:path>
            </a:pathLst>
          </a:custGeom>
        </p:spPr>
      </p:pic>
      <p:sp>
        <p:nvSpPr>
          <p:cNvPr id="17" name="Rectangle 16">
            <a:extLst>
              <a:ext uri="{FF2B5EF4-FFF2-40B4-BE49-F238E27FC236}">
                <a16:creationId xmlns:a16="http://schemas.microsoft.com/office/drawing/2014/main" id="{1D401BE6-7F60-44A1-8A91-D81D804C2FF1}"/>
              </a:ext>
            </a:extLst>
          </p:cNvPr>
          <p:cNvSpPr/>
          <p:nvPr userDrawn="1"/>
        </p:nvSpPr>
        <p:spPr bwMode="auto">
          <a:xfrm>
            <a:off x="-2" y="-1"/>
            <a:ext cx="12192000" cy="5076099"/>
          </a:xfrm>
          <a:prstGeom prst="rect">
            <a:avLst/>
          </a:prstGeom>
          <a:gradFill flip="none" rotWithShape="1">
            <a:gsLst>
              <a:gs pos="29000">
                <a:srgbClr val="000000">
                  <a:alpha val="20000"/>
                </a:srgbClr>
              </a:gs>
              <a:gs pos="0">
                <a:srgbClr val="000000">
                  <a:alpha val="40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688FF6FD-C58D-4D38-9636-00419B9014F5}"/>
              </a:ext>
            </a:extLst>
          </p:cNvPr>
          <p:cNvSpPr/>
          <p:nvPr userDrawn="1"/>
        </p:nvSpPr>
        <p:spPr bwMode="auto">
          <a:xfrm>
            <a:off x="0" y="5076100"/>
            <a:ext cx="12192000" cy="1781899"/>
          </a:xfrm>
          <a:prstGeom prst="rect">
            <a:avLst/>
          </a:pr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8" name="Title 1">
            <a:extLst>
              <a:ext uri="{FF2B5EF4-FFF2-40B4-BE49-F238E27FC236}">
                <a16:creationId xmlns:a16="http://schemas.microsoft.com/office/drawing/2014/main" id="{2F7E2986-6A86-4C7C-B809-C07CD84F3360}"/>
              </a:ext>
            </a:extLst>
          </p:cNvPr>
          <p:cNvSpPr>
            <a:spLocks noGrp="1"/>
          </p:cNvSpPr>
          <p:nvPr>
            <p:ph type="title"/>
          </p:nvPr>
        </p:nvSpPr>
        <p:spPr>
          <a:xfrm>
            <a:off x="880115" y="5296551"/>
            <a:ext cx="11018520" cy="492443"/>
          </a:xfrm>
        </p:spPr>
        <p:txBody>
          <a:bodyPr vert="horz" wrap="square" lIns="0" tIns="0" rIns="0" bIns="0" rtlCol="0">
            <a:spAutoFit/>
          </a:bodyPr>
          <a:lstStyle>
            <a:lvl1pPr>
              <a:defRPr lang="en-IN" sz="32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pic>
        <p:nvPicPr>
          <p:cNvPr id="15" name="Picture 2" descr="Image result for microsoft white logo">
            <a:extLst>
              <a:ext uri="{FF2B5EF4-FFF2-40B4-BE49-F238E27FC236}">
                <a16:creationId xmlns:a16="http://schemas.microsoft.com/office/drawing/2014/main" id="{442DC157-E1F5-4306-A383-0E66A5A343F6}"/>
              </a:ext>
            </a:extLst>
          </p:cNvPr>
          <p:cNvPicPr>
            <a:picLocks noChangeArrowheads="1"/>
          </p:cNvPicPr>
          <p:nvPr userDrawn="1"/>
        </p:nvPicPr>
        <p:blipFill rotWithShape="1">
          <a:blip r:embed="rId3" cstate="hqprint">
            <a:extLst>
              <a:ext uri="{28A0092B-C50C-407E-A947-70E740481C1C}">
                <a14:useLocalDpi xmlns:a14="http://schemas.microsoft.com/office/drawing/2010/main" val="0"/>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BFE70EA0-B181-4089-B8C7-3BB1B5DFBD9A}"/>
              </a:ext>
            </a:extLst>
          </p:cNvPr>
          <p:cNvGrpSpPr/>
          <p:nvPr userDrawn="1"/>
        </p:nvGrpSpPr>
        <p:grpSpPr>
          <a:xfrm>
            <a:off x="152183" y="5450361"/>
            <a:ext cx="601980" cy="601980"/>
            <a:chOff x="997658" y="5928725"/>
            <a:chExt cx="601980" cy="601980"/>
          </a:xfrm>
        </p:grpSpPr>
        <p:sp>
          <p:nvSpPr>
            <p:cNvPr id="37" name="Oval 36">
              <a:extLst>
                <a:ext uri="{FF2B5EF4-FFF2-40B4-BE49-F238E27FC236}">
                  <a16:creationId xmlns:a16="http://schemas.microsoft.com/office/drawing/2014/main" id="{5AC8C939-F307-404F-A1C6-D151591A7ABC}"/>
                </a:ext>
              </a:extLst>
            </p:cNvPr>
            <p:cNvSpPr/>
            <p:nvPr/>
          </p:nvSpPr>
          <p:spPr bwMode="auto">
            <a:xfrm>
              <a:off x="997658" y="5928725"/>
              <a:ext cx="601980" cy="601980"/>
            </a:xfrm>
            <a:prstGeom prst="ellipse">
              <a:avLst/>
            </a:prstGeom>
            <a:no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38" name="data 3" descr="data, cloud, scale">
              <a:extLst>
                <a:ext uri="{FF2B5EF4-FFF2-40B4-BE49-F238E27FC236}">
                  <a16:creationId xmlns:a16="http://schemas.microsoft.com/office/drawing/2014/main" id="{734CACFF-5D83-41FB-A674-107EFD7A6ADE}"/>
                </a:ext>
              </a:extLst>
            </p:cNvPr>
            <p:cNvGrpSpPr>
              <a:grpSpLocks noChangeAspect="1"/>
            </p:cNvGrpSpPr>
            <p:nvPr/>
          </p:nvGrpSpPr>
          <p:grpSpPr bwMode="auto">
            <a:xfrm>
              <a:off x="1100674" y="6032501"/>
              <a:ext cx="395950" cy="394430"/>
              <a:chOff x="5781" y="773"/>
              <a:chExt cx="261" cy="260"/>
            </a:xfrm>
          </p:grpSpPr>
          <p:sp>
            <p:nvSpPr>
              <p:cNvPr id="39" name="AutoShape 87">
                <a:extLst>
                  <a:ext uri="{FF2B5EF4-FFF2-40B4-BE49-F238E27FC236}">
                    <a16:creationId xmlns:a16="http://schemas.microsoft.com/office/drawing/2014/main" id="{647E4122-2F94-460C-AC30-D02C0C05CE14}"/>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89">
                <a:extLst>
                  <a:ext uri="{FF2B5EF4-FFF2-40B4-BE49-F238E27FC236}">
                    <a16:creationId xmlns:a16="http://schemas.microsoft.com/office/drawing/2014/main" id="{1E6178E5-8B86-42D1-986E-7946A0AFF2C9}"/>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90">
                <a:extLst>
                  <a:ext uri="{FF2B5EF4-FFF2-40B4-BE49-F238E27FC236}">
                    <a16:creationId xmlns:a16="http://schemas.microsoft.com/office/drawing/2014/main" id="{E37E8C17-1450-499F-9FE5-68411B6B5081}"/>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91">
                <a:extLst>
                  <a:ext uri="{FF2B5EF4-FFF2-40B4-BE49-F238E27FC236}">
                    <a16:creationId xmlns:a16="http://schemas.microsoft.com/office/drawing/2014/main" id="{07F5F893-8974-492F-8326-E87BEB001FD0}"/>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92">
                <a:extLst>
                  <a:ext uri="{FF2B5EF4-FFF2-40B4-BE49-F238E27FC236}">
                    <a16:creationId xmlns:a16="http://schemas.microsoft.com/office/drawing/2014/main" id="{3D57F4F9-EB6B-45C5-A4B4-9A0604603BEB}"/>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93">
                <a:extLst>
                  <a:ext uri="{FF2B5EF4-FFF2-40B4-BE49-F238E27FC236}">
                    <a16:creationId xmlns:a16="http://schemas.microsoft.com/office/drawing/2014/main" id="{AEA4DE4B-4910-4707-83B8-1BABECE8C3B2}"/>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94">
                <a:extLst>
                  <a:ext uri="{FF2B5EF4-FFF2-40B4-BE49-F238E27FC236}">
                    <a16:creationId xmlns:a16="http://schemas.microsoft.com/office/drawing/2014/main" id="{D27B8DB2-EE14-4B02-A2FD-5D95AA43183C}"/>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95">
                <a:extLst>
                  <a:ext uri="{FF2B5EF4-FFF2-40B4-BE49-F238E27FC236}">
                    <a16:creationId xmlns:a16="http://schemas.microsoft.com/office/drawing/2014/main" id="{B42A6AFE-AFD7-492B-A508-5819D9FADBCC}"/>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96">
                <a:extLst>
                  <a:ext uri="{FF2B5EF4-FFF2-40B4-BE49-F238E27FC236}">
                    <a16:creationId xmlns:a16="http://schemas.microsoft.com/office/drawing/2014/main" id="{050AD86A-175F-433D-8683-3CC16C8014A2}"/>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97">
                <a:extLst>
                  <a:ext uri="{FF2B5EF4-FFF2-40B4-BE49-F238E27FC236}">
                    <a16:creationId xmlns:a16="http://schemas.microsoft.com/office/drawing/2014/main" id="{E6D12FF7-7148-4B94-B4F7-8C9AB82D3024}"/>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386D858E-C040-4CA2-91BC-82C037856A03}"/>
              </a:ext>
            </a:extLst>
          </p:cNvPr>
          <p:cNvGrpSpPr/>
          <p:nvPr userDrawn="1"/>
        </p:nvGrpSpPr>
        <p:grpSpPr>
          <a:xfrm>
            <a:off x="4467225" y="5945950"/>
            <a:ext cx="1307026" cy="417153"/>
            <a:chOff x="4467225" y="5945950"/>
            <a:chExt cx="1307026" cy="417153"/>
          </a:xfrm>
        </p:grpSpPr>
        <p:sp>
          <p:nvSpPr>
            <p:cNvPr id="51" name="Arc 50">
              <a:extLst>
                <a:ext uri="{FF2B5EF4-FFF2-40B4-BE49-F238E27FC236}">
                  <a16:creationId xmlns:a16="http://schemas.microsoft.com/office/drawing/2014/main" id="{8E1AF1DB-46C0-40BE-986D-A76F3FF4F567}"/>
                </a:ext>
              </a:extLst>
            </p:cNvPr>
            <p:cNvSpPr/>
            <p:nvPr/>
          </p:nvSpPr>
          <p:spPr>
            <a:xfrm>
              <a:off x="4467225" y="5945950"/>
              <a:ext cx="1245394" cy="417153"/>
            </a:xfrm>
            <a:prstGeom prst="arc">
              <a:avLst>
                <a:gd name="adj1" fmla="val 16871"/>
                <a:gd name="adj2" fmla="val 10742345"/>
              </a:avLst>
            </a:prstGeom>
            <a:ln w="12700" cap="rnd">
              <a:solidFill>
                <a:srgbClr val="50E6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Isosceles Triangle 51">
              <a:extLst>
                <a:ext uri="{FF2B5EF4-FFF2-40B4-BE49-F238E27FC236}">
                  <a16:creationId xmlns:a16="http://schemas.microsoft.com/office/drawing/2014/main" id="{27A51E8A-451B-4F9D-9C0A-C6BB306D8577}"/>
                </a:ext>
              </a:extLst>
            </p:cNvPr>
            <p:cNvSpPr/>
            <p:nvPr/>
          </p:nvSpPr>
          <p:spPr bwMode="auto">
            <a:xfrm rot="1837160">
              <a:off x="5642559" y="6131270"/>
              <a:ext cx="131692" cy="8502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8A4C10D1-B500-4887-9D2C-7C9A30E6CC7C}"/>
              </a:ext>
            </a:extLst>
          </p:cNvPr>
          <p:cNvSpPr txBox="1"/>
          <p:nvPr userDrawn="1"/>
        </p:nvSpPr>
        <p:spPr>
          <a:xfrm>
            <a:off x="880116" y="5809106"/>
            <a:ext cx="11056686" cy="307777"/>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Build, extend, and enrich a connected experience across data, workflow, and cloud scale analytics</a:t>
            </a:r>
            <a:endParaRPr kumimoji="0" lang="en-US" sz="1400" b="0" i="0" u="none" strike="noStrike" kern="120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173DB29C-DDE2-4C05-983B-34FCA006882B}"/>
              </a:ext>
            </a:extLst>
          </p:cNvPr>
          <p:cNvSpPr>
            <a:spLocks noGrp="1"/>
          </p:cNvSpPr>
          <p:nvPr>
            <p:ph type="body" sz="quarter" idx="10" hasCustomPrompt="1"/>
          </p:nvPr>
        </p:nvSpPr>
        <p:spPr>
          <a:xfrm>
            <a:off x="10218420" y="6404466"/>
            <a:ext cx="1554480" cy="276999"/>
          </a:xfrm>
        </p:spPr>
        <p:txBody>
          <a:bodyPr vert="horz" wrap="square" lIns="0" tIns="0" rIns="0" bIns="0" rtlCol="0">
            <a:spAutoFit/>
          </a:bodyPr>
          <a:lstStyle>
            <a:lvl1pPr>
              <a:buNone/>
              <a:defRPr kumimoji="0" lang="en-US" sz="1800" b="0" i="0" u="none" strike="noStrike" cap="none" normalizeH="0" dirty="0">
                <a:ln>
                  <a:noFill/>
                </a:ln>
                <a:solidFill>
                  <a:srgbClr val="50E6FF"/>
                </a:solidFill>
                <a:effectLst/>
                <a:uLnTx/>
                <a:uFillTx/>
                <a:latin typeface="Segoe UI"/>
              </a:defRPr>
            </a:lvl1pPr>
            <a:lvl2pPr>
              <a:buNone/>
              <a:defRPr lang="en-US" dirty="0" smtClean="0"/>
            </a:lvl2pPr>
            <a:lvl3pPr>
              <a:buNone/>
              <a:defRPr lang="en-US" dirty="0" smtClean="0"/>
            </a:lvl3pPr>
            <a:lvl4pPr>
              <a:buNone/>
              <a:defRPr lang="en-US" dirty="0" smtClean="0"/>
            </a:lvl4pPr>
            <a:lvl5pPr>
              <a:buNone/>
              <a:defRPr lang="en-US" dirty="0"/>
            </a:lvl5pPr>
          </a:lstStyle>
          <a:p>
            <a:pPr marL="0" marR="0" lvl="0" indent="0" algn="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IN" sz="18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Private Preview</a:t>
            </a:r>
          </a:p>
        </p:txBody>
      </p:sp>
      <p:sp>
        <p:nvSpPr>
          <p:cNvPr id="26" name="Rectangle 25">
            <a:extLst>
              <a:ext uri="{FF2B5EF4-FFF2-40B4-BE49-F238E27FC236}">
                <a16:creationId xmlns:a16="http://schemas.microsoft.com/office/drawing/2014/main" id="{3917F2B8-AA81-4571-B31B-04CF97301A1A}"/>
              </a:ext>
            </a:extLst>
          </p:cNvPr>
          <p:cNvSpPr/>
          <p:nvPr userDrawn="1"/>
        </p:nvSpPr>
        <p:spPr>
          <a:xfrm>
            <a:off x="7511725" y="6450632"/>
            <a:ext cx="2529539" cy="184666"/>
          </a:xfrm>
          <a:prstGeom prst="rect">
            <a:avLst/>
          </a:prstGeom>
          <a:ln>
            <a:noFill/>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E6FF"/>
                </a:solidFill>
                <a:effectLst/>
                <a:uLnTx/>
                <a:uFillTx/>
              </a:rPr>
              <a:t>Microsoft Cloud for Financial Services</a:t>
            </a:r>
            <a:endParaRPr kumimoji="0" lang="en-US" sz="1200" b="0" i="0" u="sng" strike="noStrike" kern="0" cap="none" spc="0" normalizeH="0" baseline="0" noProof="0">
              <a:ln>
                <a:noFill/>
              </a:ln>
              <a:solidFill>
                <a:srgbClr val="50E6FF"/>
              </a:solidFill>
              <a:effectLst/>
              <a:uLnTx/>
              <a:uFillTx/>
            </a:endParaRPr>
          </a:p>
        </p:txBody>
      </p:sp>
      <p:grpSp>
        <p:nvGrpSpPr>
          <p:cNvPr id="27" name="Group 26">
            <a:extLst>
              <a:ext uri="{FF2B5EF4-FFF2-40B4-BE49-F238E27FC236}">
                <a16:creationId xmlns:a16="http://schemas.microsoft.com/office/drawing/2014/main" id="{3E90187B-8AE1-4DC5-BC9C-137E0A82F5E3}"/>
              </a:ext>
            </a:extLst>
          </p:cNvPr>
          <p:cNvGrpSpPr/>
          <p:nvPr userDrawn="1"/>
        </p:nvGrpSpPr>
        <p:grpSpPr>
          <a:xfrm>
            <a:off x="6104393" y="6410475"/>
            <a:ext cx="1230644" cy="264980"/>
            <a:chOff x="584200" y="6219736"/>
            <a:chExt cx="1600309" cy="344577"/>
          </a:xfrm>
        </p:grpSpPr>
        <p:grpSp>
          <p:nvGrpSpPr>
            <p:cNvPr id="29" name="Group 28">
              <a:extLst>
                <a:ext uri="{FF2B5EF4-FFF2-40B4-BE49-F238E27FC236}">
                  <a16:creationId xmlns:a16="http://schemas.microsoft.com/office/drawing/2014/main" id="{03213A48-3E28-4E09-A119-715D247AE765}"/>
                </a:ext>
              </a:extLst>
            </p:cNvPr>
            <p:cNvGrpSpPr/>
            <p:nvPr/>
          </p:nvGrpSpPr>
          <p:grpSpPr>
            <a:xfrm>
              <a:off x="584200" y="6219736"/>
              <a:ext cx="1600308" cy="344577"/>
              <a:chOff x="526815" y="9598662"/>
              <a:chExt cx="940753" cy="202562"/>
            </a:xfrm>
          </p:grpSpPr>
          <p:sp>
            <p:nvSpPr>
              <p:cNvPr id="54" name="Rectangle: Rounded Corners 29">
                <a:hlinkClick r:id="rId4"/>
                <a:extLst>
                  <a:ext uri="{FF2B5EF4-FFF2-40B4-BE49-F238E27FC236}">
                    <a16:creationId xmlns:a16="http://schemas.microsoft.com/office/drawing/2014/main" id="{2D504E47-E66B-494E-AD61-95930791E01B}"/>
                  </a:ext>
                </a:extLst>
              </p:cNvPr>
              <p:cNvSpPr/>
              <p:nvPr/>
            </p:nvSpPr>
            <p:spPr>
              <a:xfrm>
                <a:off x="772877" y="9598662"/>
                <a:ext cx="202562" cy="202562"/>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Rounded Corners 27">
                <a:hlinkClick r:id="rId5"/>
                <a:extLst>
                  <a:ext uri="{FF2B5EF4-FFF2-40B4-BE49-F238E27FC236}">
                    <a16:creationId xmlns:a16="http://schemas.microsoft.com/office/drawing/2014/main" id="{BDFD63C4-330A-41FB-A1EA-70501EE3F52D}"/>
                  </a:ext>
                </a:extLst>
              </p:cNvPr>
              <p:cNvSpPr/>
              <p:nvPr/>
            </p:nvSpPr>
            <p:spPr>
              <a:xfrm>
                <a:off x="526815" y="9598662"/>
                <a:ext cx="202562" cy="202562"/>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28">
                <a:hlinkClick r:id="rId5"/>
                <a:extLst>
                  <a:ext uri="{FF2B5EF4-FFF2-40B4-BE49-F238E27FC236}">
                    <a16:creationId xmlns:a16="http://schemas.microsoft.com/office/drawing/2014/main" id="{07817351-7E68-46D5-BC35-1EA38E415FBA}"/>
                  </a:ext>
                </a:extLst>
              </p:cNvPr>
              <p:cNvSpPr/>
              <p:nvPr/>
            </p:nvSpPr>
            <p:spPr>
              <a:xfrm>
                <a:off x="588441" y="9624903"/>
                <a:ext cx="79309" cy="150080"/>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Rounded Corners 25">
                <a:hlinkClick r:id="rId6"/>
                <a:extLst>
                  <a:ext uri="{FF2B5EF4-FFF2-40B4-BE49-F238E27FC236}">
                    <a16:creationId xmlns:a16="http://schemas.microsoft.com/office/drawing/2014/main" id="{A5C8DD0E-48F4-40B5-B054-F089D4327142}"/>
                  </a:ext>
                </a:extLst>
              </p:cNvPr>
              <p:cNvSpPr/>
              <p:nvPr/>
            </p:nvSpPr>
            <p:spPr>
              <a:xfrm>
                <a:off x="1018943" y="9598662"/>
                <a:ext cx="202562" cy="202562"/>
              </a:xfrm>
              <a:prstGeom prst="roundRect">
                <a:avLst>
                  <a:gd name="adj" fmla="val 10332"/>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Rounded Corners 57">
                <a:hlinkClick r:id="rId7"/>
                <a:extLst>
                  <a:ext uri="{FF2B5EF4-FFF2-40B4-BE49-F238E27FC236}">
                    <a16:creationId xmlns:a16="http://schemas.microsoft.com/office/drawing/2014/main" id="{978FB47E-891D-45D8-B449-39E27AC21ABD}"/>
                  </a:ext>
                </a:extLst>
              </p:cNvPr>
              <p:cNvSpPr/>
              <p:nvPr/>
            </p:nvSpPr>
            <p:spPr>
              <a:xfrm>
                <a:off x="1265006" y="9598662"/>
                <a:ext cx="202562" cy="202562"/>
              </a:xfrm>
              <a:prstGeom prst="roundRect">
                <a:avLst>
                  <a:gd name="adj" fmla="val 8221"/>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5">
                <a:hlinkClick r:id="rId7"/>
                <a:extLst>
                  <a:ext uri="{FF2B5EF4-FFF2-40B4-BE49-F238E27FC236}">
                    <a16:creationId xmlns:a16="http://schemas.microsoft.com/office/drawing/2014/main" id="{2F6853DF-5766-4017-BE6A-39ED44A526A5}"/>
                  </a:ext>
                </a:extLst>
              </p:cNvPr>
              <p:cNvSpPr>
                <a:spLocks/>
              </p:cNvSpPr>
              <p:nvPr/>
            </p:nvSpPr>
            <p:spPr bwMode="auto">
              <a:xfrm>
                <a:off x="1305013" y="9622098"/>
                <a:ext cx="121991" cy="155681"/>
              </a:xfrm>
              <a:custGeom>
                <a:avLst/>
                <a:gdLst>
                  <a:gd name="T0" fmla="*/ 1090 w 1952"/>
                  <a:gd name="T1" fmla="*/ 0 h 2504"/>
                  <a:gd name="T2" fmla="*/ 1209 w 1952"/>
                  <a:gd name="T3" fmla="*/ 15 h 2504"/>
                  <a:gd name="T4" fmla="*/ 1524 w 1952"/>
                  <a:gd name="T5" fmla="*/ 124 h 2504"/>
                  <a:gd name="T6" fmla="*/ 1760 w 1952"/>
                  <a:gd name="T7" fmla="*/ 319 h 2504"/>
                  <a:gd name="T8" fmla="*/ 1947 w 1952"/>
                  <a:gd name="T9" fmla="*/ 856 h 2504"/>
                  <a:gd name="T10" fmla="*/ 1859 w 1952"/>
                  <a:gd name="T11" fmla="*/ 1304 h 2504"/>
                  <a:gd name="T12" fmla="*/ 1580 w 1952"/>
                  <a:gd name="T13" fmla="*/ 1676 h 2504"/>
                  <a:gd name="T14" fmla="*/ 1122 w 1952"/>
                  <a:gd name="T15" fmla="*/ 1805 h 2504"/>
                  <a:gd name="T16" fmla="*/ 853 w 1952"/>
                  <a:gd name="T17" fmla="*/ 1675 h 2504"/>
                  <a:gd name="T18" fmla="*/ 820 w 1952"/>
                  <a:gd name="T19" fmla="*/ 1632 h 2504"/>
                  <a:gd name="T20" fmla="*/ 803 w 1952"/>
                  <a:gd name="T21" fmla="*/ 1700 h 2504"/>
                  <a:gd name="T22" fmla="*/ 694 w 1952"/>
                  <a:gd name="T23" fmla="*/ 2094 h 2504"/>
                  <a:gd name="T24" fmla="*/ 601 w 1952"/>
                  <a:gd name="T25" fmla="*/ 2288 h 2504"/>
                  <a:gd name="T26" fmla="*/ 473 w 1952"/>
                  <a:gd name="T27" fmla="*/ 2479 h 2504"/>
                  <a:gd name="T28" fmla="*/ 450 w 1952"/>
                  <a:gd name="T29" fmla="*/ 2504 h 2504"/>
                  <a:gd name="T30" fmla="*/ 434 w 1952"/>
                  <a:gd name="T31" fmla="*/ 2504 h 2504"/>
                  <a:gd name="T32" fmla="*/ 416 w 1952"/>
                  <a:gd name="T33" fmla="*/ 2411 h 2504"/>
                  <a:gd name="T34" fmla="*/ 411 w 1952"/>
                  <a:gd name="T35" fmla="*/ 2062 h 2504"/>
                  <a:gd name="T36" fmla="*/ 448 w 1952"/>
                  <a:gd name="T37" fmla="*/ 1868 h 2504"/>
                  <a:gd name="T38" fmla="*/ 612 w 1952"/>
                  <a:gd name="T39" fmla="*/ 1169 h 2504"/>
                  <a:gd name="T40" fmla="*/ 609 w 1952"/>
                  <a:gd name="T41" fmla="*/ 1147 h 2504"/>
                  <a:gd name="T42" fmla="*/ 583 w 1952"/>
                  <a:gd name="T43" fmla="*/ 811 h 2504"/>
                  <a:gd name="T44" fmla="*/ 755 w 1952"/>
                  <a:gd name="T45" fmla="*/ 578 h 2504"/>
                  <a:gd name="T46" fmla="*/ 989 w 1952"/>
                  <a:gd name="T47" fmla="*/ 619 h 2504"/>
                  <a:gd name="T48" fmla="*/ 1039 w 1952"/>
                  <a:gd name="T49" fmla="*/ 785 h 2504"/>
                  <a:gd name="T50" fmla="*/ 992 w 1952"/>
                  <a:gd name="T51" fmla="*/ 1014 h 2504"/>
                  <a:gd name="T52" fmla="*/ 914 w 1952"/>
                  <a:gd name="T53" fmla="*/ 1286 h 2504"/>
                  <a:gd name="T54" fmla="*/ 1134 w 1952"/>
                  <a:gd name="T55" fmla="*/ 1561 h 2504"/>
                  <a:gd name="T56" fmla="*/ 1376 w 1952"/>
                  <a:gd name="T57" fmla="*/ 1458 h 2504"/>
                  <a:gd name="T58" fmla="*/ 1552 w 1952"/>
                  <a:gd name="T59" fmla="*/ 1134 h 2504"/>
                  <a:gd name="T60" fmla="*/ 1594 w 1952"/>
                  <a:gd name="T61" fmla="*/ 754 h 2504"/>
                  <a:gd name="T62" fmla="*/ 1311 w 1952"/>
                  <a:gd name="T63" fmla="*/ 312 h 2504"/>
                  <a:gd name="T64" fmla="*/ 991 w 1952"/>
                  <a:gd name="T65" fmla="*/ 245 h 2504"/>
                  <a:gd name="T66" fmla="*/ 652 w 1952"/>
                  <a:gd name="T67" fmla="*/ 326 h 2504"/>
                  <a:gd name="T68" fmla="*/ 412 w 1952"/>
                  <a:gd name="T69" fmla="*/ 538 h 2504"/>
                  <a:gd name="T70" fmla="*/ 291 w 1952"/>
                  <a:gd name="T71" fmla="*/ 968 h 2504"/>
                  <a:gd name="T72" fmla="*/ 390 w 1952"/>
                  <a:gd name="T73" fmla="*/ 1224 h 2504"/>
                  <a:gd name="T74" fmla="*/ 406 w 1952"/>
                  <a:gd name="T75" fmla="*/ 1295 h 2504"/>
                  <a:gd name="T76" fmla="*/ 376 w 1952"/>
                  <a:gd name="T77" fmla="*/ 1409 h 2504"/>
                  <a:gd name="T78" fmla="*/ 298 w 1952"/>
                  <a:gd name="T79" fmla="*/ 1445 h 2504"/>
                  <a:gd name="T80" fmla="*/ 120 w 1952"/>
                  <a:gd name="T81" fmla="*/ 1299 h 2504"/>
                  <a:gd name="T82" fmla="*/ 12 w 1952"/>
                  <a:gd name="T83" fmla="*/ 957 h 2504"/>
                  <a:gd name="T84" fmla="*/ 132 w 1952"/>
                  <a:gd name="T85" fmla="*/ 472 h 2504"/>
                  <a:gd name="T86" fmla="*/ 384 w 1952"/>
                  <a:gd name="T87" fmla="*/ 197 h 2504"/>
                  <a:gd name="T88" fmla="*/ 866 w 1952"/>
                  <a:gd name="T89" fmla="*/ 12 h 2504"/>
                  <a:gd name="T90" fmla="*/ 958 w 1952"/>
                  <a:gd name="T91" fmla="*/ 0 h 2504"/>
                  <a:gd name="T92" fmla="*/ 1090 w 1952"/>
                  <a:gd name="T93" fmla="*/ 0 h 2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2" h="2504">
                    <a:moveTo>
                      <a:pt x="1090" y="0"/>
                    </a:moveTo>
                    <a:cubicBezTo>
                      <a:pt x="1130" y="5"/>
                      <a:pt x="1170" y="9"/>
                      <a:pt x="1209" y="15"/>
                    </a:cubicBezTo>
                    <a:cubicBezTo>
                      <a:pt x="1321" y="32"/>
                      <a:pt x="1426" y="68"/>
                      <a:pt x="1524" y="124"/>
                    </a:cubicBezTo>
                    <a:cubicBezTo>
                      <a:pt x="1615" y="175"/>
                      <a:pt x="1694" y="239"/>
                      <a:pt x="1760" y="319"/>
                    </a:cubicBezTo>
                    <a:cubicBezTo>
                      <a:pt x="1888" y="475"/>
                      <a:pt x="1952" y="653"/>
                      <a:pt x="1947" y="856"/>
                    </a:cubicBezTo>
                    <a:cubicBezTo>
                      <a:pt x="1943" y="1010"/>
                      <a:pt x="1918" y="1161"/>
                      <a:pt x="1859" y="1304"/>
                    </a:cubicBezTo>
                    <a:cubicBezTo>
                      <a:pt x="1799" y="1453"/>
                      <a:pt x="1712" y="1581"/>
                      <a:pt x="1580" y="1676"/>
                    </a:cubicBezTo>
                    <a:cubicBezTo>
                      <a:pt x="1443" y="1776"/>
                      <a:pt x="1290" y="1821"/>
                      <a:pt x="1122" y="1805"/>
                    </a:cubicBezTo>
                    <a:cubicBezTo>
                      <a:pt x="1017" y="1795"/>
                      <a:pt x="925" y="1753"/>
                      <a:pt x="853" y="1675"/>
                    </a:cubicBezTo>
                    <a:cubicBezTo>
                      <a:pt x="842" y="1663"/>
                      <a:pt x="833" y="1650"/>
                      <a:pt x="820" y="1632"/>
                    </a:cubicBezTo>
                    <a:cubicBezTo>
                      <a:pt x="813" y="1657"/>
                      <a:pt x="808" y="1679"/>
                      <a:pt x="803" y="1700"/>
                    </a:cubicBezTo>
                    <a:cubicBezTo>
                      <a:pt x="767" y="1831"/>
                      <a:pt x="736" y="1965"/>
                      <a:pt x="694" y="2094"/>
                    </a:cubicBezTo>
                    <a:cubicBezTo>
                      <a:pt x="672" y="2162"/>
                      <a:pt x="637" y="2226"/>
                      <a:pt x="601" y="2288"/>
                    </a:cubicBezTo>
                    <a:cubicBezTo>
                      <a:pt x="562" y="2354"/>
                      <a:pt x="516" y="2416"/>
                      <a:pt x="473" y="2479"/>
                    </a:cubicBezTo>
                    <a:cubicBezTo>
                      <a:pt x="467" y="2488"/>
                      <a:pt x="458" y="2496"/>
                      <a:pt x="450" y="2504"/>
                    </a:cubicBezTo>
                    <a:cubicBezTo>
                      <a:pt x="445" y="2504"/>
                      <a:pt x="440" y="2504"/>
                      <a:pt x="434" y="2504"/>
                    </a:cubicBezTo>
                    <a:cubicBezTo>
                      <a:pt x="428" y="2473"/>
                      <a:pt x="419" y="2442"/>
                      <a:pt x="416" y="2411"/>
                    </a:cubicBezTo>
                    <a:cubicBezTo>
                      <a:pt x="402" y="2295"/>
                      <a:pt x="397" y="2178"/>
                      <a:pt x="411" y="2062"/>
                    </a:cubicBezTo>
                    <a:cubicBezTo>
                      <a:pt x="419" y="1997"/>
                      <a:pt x="433" y="1932"/>
                      <a:pt x="448" y="1868"/>
                    </a:cubicBezTo>
                    <a:cubicBezTo>
                      <a:pt x="502" y="1635"/>
                      <a:pt x="557" y="1402"/>
                      <a:pt x="612" y="1169"/>
                    </a:cubicBezTo>
                    <a:cubicBezTo>
                      <a:pt x="613" y="1162"/>
                      <a:pt x="612" y="1154"/>
                      <a:pt x="609" y="1147"/>
                    </a:cubicBezTo>
                    <a:cubicBezTo>
                      <a:pt x="568" y="1037"/>
                      <a:pt x="556" y="925"/>
                      <a:pt x="583" y="811"/>
                    </a:cubicBezTo>
                    <a:cubicBezTo>
                      <a:pt x="607" y="710"/>
                      <a:pt x="657" y="625"/>
                      <a:pt x="755" y="578"/>
                    </a:cubicBezTo>
                    <a:cubicBezTo>
                      <a:pt x="824" y="546"/>
                      <a:pt x="929" y="549"/>
                      <a:pt x="989" y="619"/>
                    </a:cubicBezTo>
                    <a:cubicBezTo>
                      <a:pt x="1029" y="667"/>
                      <a:pt x="1042" y="724"/>
                      <a:pt x="1039" y="785"/>
                    </a:cubicBezTo>
                    <a:cubicBezTo>
                      <a:pt x="1036" y="864"/>
                      <a:pt x="1013" y="939"/>
                      <a:pt x="992" y="1014"/>
                    </a:cubicBezTo>
                    <a:cubicBezTo>
                      <a:pt x="965" y="1104"/>
                      <a:pt x="935" y="1194"/>
                      <a:pt x="914" y="1286"/>
                    </a:cubicBezTo>
                    <a:cubicBezTo>
                      <a:pt x="880" y="1435"/>
                      <a:pt x="982" y="1558"/>
                      <a:pt x="1134" y="1561"/>
                    </a:cubicBezTo>
                    <a:cubicBezTo>
                      <a:pt x="1230" y="1562"/>
                      <a:pt x="1309" y="1524"/>
                      <a:pt x="1376" y="1458"/>
                    </a:cubicBezTo>
                    <a:cubicBezTo>
                      <a:pt x="1467" y="1368"/>
                      <a:pt x="1517" y="1255"/>
                      <a:pt x="1552" y="1134"/>
                    </a:cubicBezTo>
                    <a:cubicBezTo>
                      <a:pt x="1587" y="1009"/>
                      <a:pt x="1602" y="882"/>
                      <a:pt x="1594" y="754"/>
                    </a:cubicBezTo>
                    <a:cubicBezTo>
                      <a:pt x="1582" y="555"/>
                      <a:pt x="1491" y="404"/>
                      <a:pt x="1311" y="312"/>
                    </a:cubicBezTo>
                    <a:cubicBezTo>
                      <a:pt x="1211" y="261"/>
                      <a:pt x="1103" y="244"/>
                      <a:pt x="991" y="245"/>
                    </a:cubicBezTo>
                    <a:cubicBezTo>
                      <a:pt x="873" y="247"/>
                      <a:pt x="759" y="271"/>
                      <a:pt x="652" y="326"/>
                    </a:cubicBezTo>
                    <a:cubicBezTo>
                      <a:pt x="555" y="377"/>
                      <a:pt x="474" y="447"/>
                      <a:pt x="412" y="538"/>
                    </a:cubicBezTo>
                    <a:cubicBezTo>
                      <a:pt x="323" y="667"/>
                      <a:pt x="284" y="812"/>
                      <a:pt x="291" y="968"/>
                    </a:cubicBezTo>
                    <a:cubicBezTo>
                      <a:pt x="295" y="1065"/>
                      <a:pt x="327" y="1151"/>
                      <a:pt x="390" y="1224"/>
                    </a:cubicBezTo>
                    <a:cubicBezTo>
                      <a:pt x="409" y="1245"/>
                      <a:pt x="413" y="1269"/>
                      <a:pt x="406" y="1295"/>
                    </a:cubicBezTo>
                    <a:cubicBezTo>
                      <a:pt x="396" y="1333"/>
                      <a:pt x="387" y="1371"/>
                      <a:pt x="376" y="1409"/>
                    </a:cubicBezTo>
                    <a:cubicBezTo>
                      <a:pt x="364" y="1451"/>
                      <a:pt x="338" y="1462"/>
                      <a:pt x="298" y="1445"/>
                    </a:cubicBezTo>
                    <a:cubicBezTo>
                      <a:pt x="225" y="1413"/>
                      <a:pt x="166" y="1364"/>
                      <a:pt x="120" y="1299"/>
                    </a:cubicBezTo>
                    <a:cubicBezTo>
                      <a:pt x="48" y="1196"/>
                      <a:pt x="20" y="1079"/>
                      <a:pt x="12" y="957"/>
                    </a:cubicBezTo>
                    <a:cubicBezTo>
                      <a:pt x="0" y="782"/>
                      <a:pt x="44" y="621"/>
                      <a:pt x="132" y="472"/>
                    </a:cubicBezTo>
                    <a:cubicBezTo>
                      <a:pt x="197" y="362"/>
                      <a:pt x="282" y="272"/>
                      <a:pt x="384" y="197"/>
                    </a:cubicBezTo>
                    <a:cubicBezTo>
                      <a:pt x="528" y="92"/>
                      <a:pt x="690" y="34"/>
                      <a:pt x="866" y="12"/>
                    </a:cubicBezTo>
                    <a:cubicBezTo>
                      <a:pt x="897" y="8"/>
                      <a:pt x="928" y="4"/>
                      <a:pt x="958" y="0"/>
                    </a:cubicBezTo>
                    <a:cubicBezTo>
                      <a:pt x="1002" y="0"/>
                      <a:pt x="1046" y="0"/>
                      <a:pt x="1090"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60" name="Freeform 9">
                <a:hlinkClick r:id="rId6"/>
                <a:extLst>
                  <a:ext uri="{FF2B5EF4-FFF2-40B4-BE49-F238E27FC236}">
                    <a16:creationId xmlns:a16="http://schemas.microsoft.com/office/drawing/2014/main" id="{660B911E-C949-4343-9EF5-3723A946623A}"/>
                  </a:ext>
                </a:extLst>
              </p:cNvPr>
              <p:cNvSpPr>
                <a:spLocks noEditPoints="1"/>
              </p:cNvSpPr>
              <p:nvPr/>
            </p:nvSpPr>
            <p:spPr bwMode="auto">
              <a:xfrm>
                <a:off x="1044506" y="9627882"/>
                <a:ext cx="151433" cy="144136"/>
              </a:xfrm>
              <a:custGeom>
                <a:avLst/>
                <a:gdLst>
                  <a:gd name="T0" fmla="*/ 1720 w 1720"/>
                  <a:gd name="T1" fmla="*/ 1008 h 1644"/>
                  <a:gd name="T2" fmla="*/ 1720 w 1720"/>
                  <a:gd name="T3" fmla="*/ 1644 h 1644"/>
                  <a:gd name="T4" fmla="*/ 1352 w 1720"/>
                  <a:gd name="T5" fmla="*/ 1644 h 1644"/>
                  <a:gd name="T6" fmla="*/ 1352 w 1720"/>
                  <a:gd name="T7" fmla="*/ 1050 h 1644"/>
                  <a:gd name="T8" fmla="*/ 1165 w 1720"/>
                  <a:gd name="T9" fmla="*/ 799 h 1644"/>
                  <a:gd name="T10" fmla="*/ 976 w 1720"/>
                  <a:gd name="T11" fmla="*/ 934 h 1644"/>
                  <a:gd name="T12" fmla="*/ 963 w 1720"/>
                  <a:gd name="T13" fmla="*/ 1024 h 1644"/>
                  <a:gd name="T14" fmla="*/ 963 w 1720"/>
                  <a:gd name="T15" fmla="*/ 1644 h 1644"/>
                  <a:gd name="T16" fmla="*/ 595 w 1720"/>
                  <a:gd name="T17" fmla="*/ 1644 h 1644"/>
                  <a:gd name="T18" fmla="*/ 595 w 1720"/>
                  <a:gd name="T19" fmla="*/ 534 h 1644"/>
                  <a:gd name="T20" fmla="*/ 963 w 1720"/>
                  <a:gd name="T21" fmla="*/ 534 h 1644"/>
                  <a:gd name="T22" fmla="*/ 963 w 1720"/>
                  <a:gd name="T23" fmla="*/ 692 h 1644"/>
                  <a:gd name="T24" fmla="*/ 961 w 1720"/>
                  <a:gd name="T25" fmla="*/ 695 h 1644"/>
                  <a:gd name="T26" fmla="*/ 963 w 1720"/>
                  <a:gd name="T27" fmla="*/ 695 h 1644"/>
                  <a:gd name="T28" fmla="*/ 963 w 1720"/>
                  <a:gd name="T29" fmla="*/ 692 h 1644"/>
                  <a:gd name="T30" fmla="*/ 1296 w 1720"/>
                  <a:gd name="T31" fmla="*/ 508 h 1644"/>
                  <a:gd name="T32" fmla="*/ 1720 w 1720"/>
                  <a:gd name="T33" fmla="*/ 1008 h 1644"/>
                  <a:gd name="T34" fmla="*/ 209 w 1720"/>
                  <a:gd name="T35" fmla="*/ 0 h 1644"/>
                  <a:gd name="T36" fmla="*/ 0 w 1720"/>
                  <a:gd name="T37" fmla="*/ 191 h 1644"/>
                  <a:gd name="T38" fmla="*/ 204 w 1720"/>
                  <a:gd name="T39" fmla="*/ 383 h 1644"/>
                  <a:gd name="T40" fmla="*/ 206 w 1720"/>
                  <a:gd name="T41" fmla="*/ 383 h 1644"/>
                  <a:gd name="T42" fmla="*/ 415 w 1720"/>
                  <a:gd name="T43" fmla="*/ 191 h 1644"/>
                  <a:gd name="T44" fmla="*/ 209 w 1720"/>
                  <a:gd name="T45" fmla="*/ 0 h 1644"/>
                  <a:gd name="T46" fmla="*/ 22 w 1720"/>
                  <a:gd name="T47" fmla="*/ 1644 h 1644"/>
                  <a:gd name="T48" fmla="*/ 391 w 1720"/>
                  <a:gd name="T49" fmla="*/ 1644 h 1644"/>
                  <a:gd name="T50" fmla="*/ 391 w 1720"/>
                  <a:gd name="T51" fmla="*/ 534 h 1644"/>
                  <a:gd name="T52" fmla="*/ 22 w 1720"/>
                  <a:gd name="T53" fmla="*/ 534 h 1644"/>
                  <a:gd name="T54" fmla="*/ 22 w 1720"/>
                  <a:gd name="T55" fmla="*/ 164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0" h="1644">
                    <a:moveTo>
                      <a:pt x="1720" y="1008"/>
                    </a:moveTo>
                    <a:cubicBezTo>
                      <a:pt x="1720" y="1644"/>
                      <a:pt x="1720" y="1644"/>
                      <a:pt x="1720" y="1644"/>
                    </a:cubicBezTo>
                    <a:cubicBezTo>
                      <a:pt x="1352" y="1644"/>
                      <a:pt x="1352" y="1644"/>
                      <a:pt x="1352" y="1644"/>
                    </a:cubicBezTo>
                    <a:cubicBezTo>
                      <a:pt x="1352" y="1050"/>
                      <a:pt x="1352" y="1050"/>
                      <a:pt x="1352" y="1050"/>
                    </a:cubicBezTo>
                    <a:cubicBezTo>
                      <a:pt x="1352" y="901"/>
                      <a:pt x="1298" y="799"/>
                      <a:pt x="1165" y="799"/>
                    </a:cubicBezTo>
                    <a:cubicBezTo>
                      <a:pt x="1063" y="799"/>
                      <a:pt x="1002" y="868"/>
                      <a:pt x="976" y="934"/>
                    </a:cubicBezTo>
                    <a:cubicBezTo>
                      <a:pt x="966" y="958"/>
                      <a:pt x="963" y="991"/>
                      <a:pt x="963" y="1024"/>
                    </a:cubicBezTo>
                    <a:cubicBezTo>
                      <a:pt x="963" y="1644"/>
                      <a:pt x="963" y="1644"/>
                      <a:pt x="963" y="1644"/>
                    </a:cubicBezTo>
                    <a:cubicBezTo>
                      <a:pt x="595" y="1644"/>
                      <a:pt x="595" y="1644"/>
                      <a:pt x="595" y="1644"/>
                    </a:cubicBezTo>
                    <a:cubicBezTo>
                      <a:pt x="595" y="1644"/>
                      <a:pt x="600" y="639"/>
                      <a:pt x="595" y="534"/>
                    </a:cubicBezTo>
                    <a:cubicBezTo>
                      <a:pt x="963" y="534"/>
                      <a:pt x="963" y="534"/>
                      <a:pt x="963" y="534"/>
                    </a:cubicBezTo>
                    <a:cubicBezTo>
                      <a:pt x="963" y="692"/>
                      <a:pt x="963" y="692"/>
                      <a:pt x="963" y="692"/>
                    </a:cubicBezTo>
                    <a:cubicBezTo>
                      <a:pt x="963" y="693"/>
                      <a:pt x="962" y="694"/>
                      <a:pt x="961" y="695"/>
                    </a:cubicBezTo>
                    <a:cubicBezTo>
                      <a:pt x="963" y="695"/>
                      <a:pt x="963" y="695"/>
                      <a:pt x="963" y="695"/>
                    </a:cubicBezTo>
                    <a:cubicBezTo>
                      <a:pt x="963" y="692"/>
                      <a:pt x="963" y="692"/>
                      <a:pt x="963" y="692"/>
                    </a:cubicBezTo>
                    <a:cubicBezTo>
                      <a:pt x="1012" y="616"/>
                      <a:pt x="1100" y="508"/>
                      <a:pt x="1296" y="508"/>
                    </a:cubicBezTo>
                    <a:cubicBezTo>
                      <a:pt x="1539" y="508"/>
                      <a:pt x="1720" y="667"/>
                      <a:pt x="1720" y="1008"/>
                    </a:cubicBezTo>
                    <a:close/>
                    <a:moveTo>
                      <a:pt x="209" y="0"/>
                    </a:moveTo>
                    <a:cubicBezTo>
                      <a:pt x="83" y="0"/>
                      <a:pt x="0" y="83"/>
                      <a:pt x="0" y="191"/>
                    </a:cubicBezTo>
                    <a:cubicBezTo>
                      <a:pt x="0" y="298"/>
                      <a:pt x="80" y="383"/>
                      <a:pt x="204" y="383"/>
                    </a:cubicBezTo>
                    <a:cubicBezTo>
                      <a:pt x="206" y="383"/>
                      <a:pt x="206" y="383"/>
                      <a:pt x="206" y="383"/>
                    </a:cubicBezTo>
                    <a:cubicBezTo>
                      <a:pt x="335" y="383"/>
                      <a:pt x="415" y="298"/>
                      <a:pt x="415" y="191"/>
                    </a:cubicBezTo>
                    <a:cubicBezTo>
                      <a:pt x="413" y="83"/>
                      <a:pt x="335" y="0"/>
                      <a:pt x="209" y="0"/>
                    </a:cubicBezTo>
                    <a:close/>
                    <a:moveTo>
                      <a:pt x="22" y="1644"/>
                    </a:moveTo>
                    <a:cubicBezTo>
                      <a:pt x="391" y="1644"/>
                      <a:pt x="391" y="1644"/>
                      <a:pt x="391" y="1644"/>
                    </a:cubicBezTo>
                    <a:cubicBezTo>
                      <a:pt x="391" y="534"/>
                      <a:pt x="391" y="534"/>
                      <a:pt x="391" y="534"/>
                    </a:cubicBezTo>
                    <a:cubicBezTo>
                      <a:pt x="22" y="534"/>
                      <a:pt x="22" y="534"/>
                      <a:pt x="22" y="534"/>
                    </a:cubicBezTo>
                    <a:lnTo>
                      <a:pt x="22" y="1644"/>
                    </a:ln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61" name="Freeform 13">
                <a:hlinkClick r:id="rId8"/>
                <a:extLst>
                  <a:ext uri="{FF2B5EF4-FFF2-40B4-BE49-F238E27FC236}">
                    <a16:creationId xmlns:a16="http://schemas.microsoft.com/office/drawing/2014/main" id="{19FDBE37-1490-459F-8F37-375187928D97}"/>
                  </a:ext>
                </a:extLst>
              </p:cNvPr>
              <p:cNvSpPr>
                <a:spLocks/>
              </p:cNvSpPr>
              <p:nvPr/>
            </p:nvSpPr>
            <p:spPr bwMode="auto">
              <a:xfrm>
                <a:off x="800503" y="9641054"/>
                <a:ext cx="145734" cy="117779"/>
              </a:xfrm>
              <a:custGeom>
                <a:avLst/>
                <a:gdLst>
                  <a:gd name="T0" fmla="*/ 2448 w 2448"/>
                  <a:gd name="T1" fmla="*/ 235 h 1988"/>
                  <a:gd name="T2" fmla="*/ 2160 w 2448"/>
                  <a:gd name="T3" fmla="*/ 314 h 1988"/>
                  <a:gd name="T4" fmla="*/ 2380 w 2448"/>
                  <a:gd name="T5" fmla="*/ 36 h 1988"/>
                  <a:gd name="T6" fmla="*/ 2061 w 2448"/>
                  <a:gd name="T7" fmla="*/ 158 h 1988"/>
                  <a:gd name="T8" fmla="*/ 1695 w 2448"/>
                  <a:gd name="T9" fmla="*/ 0 h 1988"/>
                  <a:gd name="T10" fmla="*/ 1193 w 2448"/>
                  <a:gd name="T11" fmla="*/ 502 h 1988"/>
                  <a:gd name="T12" fmla="*/ 1206 w 2448"/>
                  <a:gd name="T13" fmla="*/ 616 h 1988"/>
                  <a:gd name="T14" fmla="*/ 171 w 2448"/>
                  <a:gd name="T15" fmla="*/ 92 h 1988"/>
                  <a:gd name="T16" fmla="*/ 103 w 2448"/>
                  <a:gd name="T17" fmla="*/ 344 h 1988"/>
                  <a:gd name="T18" fmla="*/ 326 w 2448"/>
                  <a:gd name="T19" fmla="*/ 762 h 1988"/>
                  <a:gd name="T20" fmla="*/ 99 w 2448"/>
                  <a:gd name="T21" fmla="*/ 699 h 1988"/>
                  <a:gd name="T22" fmla="*/ 99 w 2448"/>
                  <a:gd name="T23" fmla="*/ 705 h 1988"/>
                  <a:gd name="T24" fmla="*/ 501 w 2448"/>
                  <a:gd name="T25" fmla="*/ 1198 h 1988"/>
                  <a:gd name="T26" fmla="*/ 369 w 2448"/>
                  <a:gd name="T27" fmla="*/ 1215 h 1988"/>
                  <a:gd name="T28" fmla="*/ 274 w 2448"/>
                  <a:gd name="T29" fmla="*/ 1206 h 1988"/>
                  <a:gd name="T30" fmla="*/ 743 w 2448"/>
                  <a:gd name="T31" fmla="*/ 1555 h 1988"/>
                  <a:gd name="T32" fmla="*/ 120 w 2448"/>
                  <a:gd name="T33" fmla="*/ 1769 h 1988"/>
                  <a:gd name="T34" fmla="*/ 0 w 2448"/>
                  <a:gd name="T35" fmla="*/ 1762 h 1988"/>
                  <a:gd name="T36" fmla="*/ 770 w 2448"/>
                  <a:gd name="T37" fmla="*/ 1988 h 1988"/>
                  <a:gd name="T38" fmla="*/ 2199 w 2448"/>
                  <a:gd name="T39" fmla="*/ 559 h 1988"/>
                  <a:gd name="T40" fmla="*/ 2197 w 2448"/>
                  <a:gd name="T41" fmla="*/ 494 h 1988"/>
                  <a:gd name="T42" fmla="*/ 2448 w 2448"/>
                  <a:gd name="T43" fmla="*/ 235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8" h="1988">
                    <a:moveTo>
                      <a:pt x="2448" y="235"/>
                    </a:moveTo>
                    <a:cubicBezTo>
                      <a:pt x="2358" y="275"/>
                      <a:pt x="2261" y="302"/>
                      <a:pt x="2160" y="314"/>
                    </a:cubicBezTo>
                    <a:cubicBezTo>
                      <a:pt x="2263" y="252"/>
                      <a:pt x="2343" y="153"/>
                      <a:pt x="2380" y="36"/>
                    </a:cubicBezTo>
                    <a:cubicBezTo>
                      <a:pt x="2283" y="94"/>
                      <a:pt x="2176" y="136"/>
                      <a:pt x="2061" y="158"/>
                    </a:cubicBezTo>
                    <a:cubicBezTo>
                      <a:pt x="1970" y="61"/>
                      <a:pt x="1839" y="0"/>
                      <a:pt x="1695" y="0"/>
                    </a:cubicBezTo>
                    <a:cubicBezTo>
                      <a:pt x="1417" y="0"/>
                      <a:pt x="1193" y="225"/>
                      <a:pt x="1193" y="502"/>
                    </a:cubicBezTo>
                    <a:cubicBezTo>
                      <a:pt x="1193" y="541"/>
                      <a:pt x="1197" y="580"/>
                      <a:pt x="1206" y="616"/>
                    </a:cubicBezTo>
                    <a:cubicBezTo>
                      <a:pt x="788" y="595"/>
                      <a:pt x="418" y="395"/>
                      <a:pt x="171" y="92"/>
                    </a:cubicBezTo>
                    <a:cubicBezTo>
                      <a:pt x="127" y="166"/>
                      <a:pt x="103" y="252"/>
                      <a:pt x="103" y="344"/>
                    </a:cubicBezTo>
                    <a:cubicBezTo>
                      <a:pt x="103" y="518"/>
                      <a:pt x="191" y="672"/>
                      <a:pt x="326" y="762"/>
                    </a:cubicBezTo>
                    <a:cubicBezTo>
                      <a:pt x="244" y="759"/>
                      <a:pt x="166" y="736"/>
                      <a:pt x="99" y="699"/>
                    </a:cubicBezTo>
                    <a:cubicBezTo>
                      <a:pt x="99" y="705"/>
                      <a:pt x="99" y="705"/>
                      <a:pt x="99" y="705"/>
                    </a:cubicBezTo>
                    <a:cubicBezTo>
                      <a:pt x="99" y="948"/>
                      <a:pt x="272" y="1151"/>
                      <a:pt x="501" y="1198"/>
                    </a:cubicBezTo>
                    <a:cubicBezTo>
                      <a:pt x="459" y="1209"/>
                      <a:pt x="415" y="1215"/>
                      <a:pt x="369" y="1215"/>
                    </a:cubicBezTo>
                    <a:cubicBezTo>
                      <a:pt x="337" y="1215"/>
                      <a:pt x="305" y="1212"/>
                      <a:pt x="274" y="1206"/>
                    </a:cubicBezTo>
                    <a:cubicBezTo>
                      <a:pt x="338" y="1405"/>
                      <a:pt x="524" y="1551"/>
                      <a:pt x="743" y="1555"/>
                    </a:cubicBezTo>
                    <a:cubicBezTo>
                      <a:pt x="572" y="1689"/>
                      <a:pt x="355" y="1769"/>
                      <a:pt x="120" y="1769"/>
                    </a:cubicBezTo>
                    <a:cubicBezTo>
                      <a:pt x="79" y="1769"/>
                      <a:pt x="39" y="1767"/>
                      <a:pt x="0" y="1762"/>
                    </a:cubicBezTo>
                    <a:cubicBezTo>
                      <a:pt x="222" y="1905"/>
                      <a:pt x="486" y="1988"/>
                      <a:pt x="770" y="1988"/>
                    </a:cubicBezTo>
                    <a:cubicBezTo>
                      <a:pt x="1694" y="1988"/>
                      <a:pt x="2199" y="1223"/>
                      <a:pt x="2199" y="559"/>
                    </a:cubicBezTo>
                    <a:cubicBezTo>
                      <a:pt x="2197" y="494"/>
                      <a:pt x="2197" y="494"/>
                      <a:pt x="2197" y="494"/>
                    </a:cubicBezTo>
                    <a:cubicBezTo>
                      <a:pt x="2295" y="424"/>
                      <a:pt x="2381" y="336"/>
                      <a:pt x="2448" y="235"/>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grpSp>
        <p:sp>
          <p:nvSpPr>
            <p:cNvPr id="30" name="Rectangle: Rounded Corners 29">
              <a:hlinkClick r:id="rId4"/>
              <a:extLst>
                <a:ext uri="{FF2B5EF4-FFF2-40B4-BE49-F238E27FC236}">
                  <a16:creationId xmlns:a16="http://schemas.microsoft.com/office/drawing/2014/main" id="{6A0B8676-F0CB-4353-9FB8-5477360CCBC1}"/>
                </a:ext>
              </a:extLst>
            </p:cNvPr>
            <p:cNvSpPr/>
            <p:nvPr/>
          </p:nvSpPr>
          <p:spPr>
            <a:xfrm>
              <a:off x="1002776" y="6219736"/>
              <a:ext cx="344577" cy="344577"/>
            </a:xfrm>
            <a:prstGeom prst="roundRect">
              <a:avLst>
                <a:gd name="adj" fmla="val 8925"/>
              </a:avLst>
            </a:prstGeom>
            <a:solidFill>
              <a:srgbClr val="1DA1F2"/>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Rounded Corners 27">
              <a:hlinkClick r:id="rId5"/>
              <a:extLst>
                <a:ext uri="{FF2B5EF4-FFF2-40B4-BE49-F238E27FC236}">
                  <a16:creationId xmlns:a16="http://schemas.microsoft.com/office/drawing/2014/main" id="{FFEDAFC2-A76E-42FE-BD91-E5B7047559A7}"/>
                </a:ext>
              </a:extLst>
            </p:cNvPr>
            <p:cNvSpPr/>
            <p:nvPr/>
          </p:nvSpPr>
          <p:spPr>
            <a:xfrm>
              <a:off x="584202" y="6219736"/>
              <a:ext cx="344577" cy="344577"/>
            </a:xfrm>
            <a:prstGeom prst="roundRect">
              <a:avLst>
                <a:gd name="adj" fmla="val 8925"/>
              </a:avLst>
            </a:prstGeom>
            <a:solidFill>
              <a:srgbClr val="3A569C"/>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Shape 28">
              <a:hlinkClick r:id="rId5"/>
              <a:extLst>
                <a:ext uri="{FF2B5EF4-FFF2-40B4-BE49-F238E27FC236}">
                  <a16:creationId xmlns:a16="http://schemas.microsoft.com/office/drawing/2014/main" id="{ABB7C1D5-6478-40B1-A486-09B81B107D37}"/>
                </a:ext>
              </a:extLst>
            </p:cNvPr>
            <p:cNvSpPr/>
            <p:nvPr/>
          </p:nvSpPr>
          <p:spPr>
            <a:xfrm>
              <a:off x="689035" y="6264374"/>
              <a:ext cx="134912" cy="255300"/>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Rounded Corners 25">
              <a:hlinkClick r:id="rId6"/>
              <a:extLst>
                <a:ext uri="{FF2B5EF4-FFF2-40B4-BE49-F238E27FC236}">
                  <a16:creationId xmlns:a16="http://schemas.microsoft.com/office/drawing/2014/main" id="{C6922D84-AB27-44A9-B331-FE64F15BC7B1}"/>
                </a:ext>
              </a:extLst>
            </p:cNvPr>
            <p:cNvSpPr/>
            <p:nvPr/>
          </p:nvSpPr>
          <p:spPr>
            <a:xfrm>
              <a:off x="1421357" y="6219736"/>
              <a:ext cx="344577" cy="344577"/>
            </a:xfrm>
            <a:prstGeom prst="roundRect">
              <a:avLst>
                <a:gd name="adj" fmla="val 10332"/>
              </a:avLst>
            </a:prstGeom>
            <a:solidFill>
              <a:srgbClr val="0097D3"/>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Rounded Corners 23">
              <a:hlinkClick r:id="rId7"/>
              <a:extLst>
                <a:ext uri="{FF2B5EF4-FFF2-40B4-BE49-F238E27FC236}">
                  <a16:creationId xmlns:a16="http://schemas.microsoft.com/office/drawing/2014/main" id="{66C83F88-19BD-4BF3-AF68-F2C85C8C34A6}"/>
                </a:ext>
              </a:extLst>
            </p:cNvPr>
            <p:cNvSpPr/>
            <p:nvPr/>
          </p:nvSpPr>
          <p:spPr>
            <a:xfrm>
              <a:off x="1839932" y="6219736"/>
              <a:ext cx="344577" cy="344577"/>
            </a:xfrm>
            <a:prstGeom prst="roundRect">
              <a:avLst>
                <a:gd name="adj" fmla="val 8221"/>
              </a:avLst>
            </a:prstGeom>
            <a:solidFill>
              <a:srgbClr val="CB2026"/>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5">
              <a:hlinkClick r:id="rId7"/>
              <a:extLst>
                <a:ext uri="{FF2B5EF4-FFF2-40B4-BE49-F238E27FC236}">
                  <a16:creationId xmlns:a16="http://schemas.microsoft.com/office/drawing/2014/main" id="{9F9EB90F-17F5-48B5-92E5-6E9B806D8163}"/>
                </a:ext>
              </a:extLst>
            </p:cNvPr>
            <p:cNvSpPr>
              <a:spLocks/>
            </p:cNvSpPr>
            <p:nvPr/>
          </p:nvSpPr>
          <p:spPr bwMode="auto">
            <a:xfrm>
              <a:off x="1907990" y="6259594"/>
              <a:ext cx="207518" cy="264828"/>
            </a:xfrm>
            <a:custGeom>
              <a:avLst/>
              <a:gdLst>
                <a:gd name="T0" fmla="*/ 1090 w 1952"/>
                <a:gd name="T1" fmla="*/ 0 h 2504"/>
                <a:gd name="T2" fmla="*/ 1209 w 1952"/>
                <a:gd name="T3" fmla="*/ 15 h 2504"/>
                <a:gd name="T4" fmla="*/ 1524 w 1952"/>
                <a:gd name="T5" fmla="*/ 124 h 2504"/>
                <a:gd name="T6" fmla="*/ 1760 w 1952"/>
                <a:gd name="T7" fmla="*/ 319 h 2504"/>
                <a:gd name="T8" fmla="*/ 1947 w 1952"/>
                <a:gd name="T9" fmla="*/ 856 h 2504"/>
                <a:gd name="T10" fmla="*/ 1859 w 1952"/>
                <a:gd name="T11" fmla="*/ 1304 h 2504"/>
                <a:gd name="T12" fmla="*/ 1580 w 1952"/>
                <a:gd name="T13" fmla="*/ 1676 h 2504"/>
                <a:gd name="T14" fmla="*/ 1122 w 1952"/>
                <a:gd name="T15" fmla="*/ 1805 h 2504"/>
                <a:gd name="T16" fmla="*/ 853 w 1952"/>
                <a:gd name="T17" fmla="*/ 1675 h 2504"/>
                <a:gd name="T18" fmla="*/ 820 w 1952"/>
                <a:gd name="T19" fmla="*/ 1632 h 2504"/>
                <a:gd name="T20" fmla="*/ 803 w 1952"/>
                <a:gd name="T21" fmla="*/ 1700 h 2504"/>
                <a:gd name="T22" fmla="*/ 694 w 1952"/>
                <a:gd name="T23" fmla="*/ 2094 h 2504"/>
                <a:gd name="T24" fmla="*/ 601 w 1952"/>
                <a:gd name="T25" fmla="*/ 2288 h 2504"/>
                <a:gd name="T26" fmla="*/ 473 w 1952"/>
                <a:gd name="T27" fmla="*/ 2479 h 2504"/>
                <a:gd name="T28" fmla="*/ 450 w 1952"/>
                <a:gd name="T29" fmla="*/ 2504 h 2504"/>
                <a:gd name="T30" fmla="*/ 434 w 1952"/>
                <a:gd name="T31" fmla="*/ 2504 h 2504"/>
                <a:gd name="T32" fmla="*/ 416 w 1952"/>
                <a:gd name="T33" fmla="*/ 2411 h 2504"/>
                <a:gd name="T34" fmla="*/ 411 w 1952"/>
                <a:gd name="T35" fmla="*/ 2062 h 2504"/>
                <a:gd name="T36" fmla="*/ 448 w 1952"/>
                <a:gd name="T37" fmla="*/ 1868 h 2504"/>
                <a:gd name="T38" fmla="*/ 612 w 1952"/>
                <a:gd name="T39" fmla="*/ 1169 h 2504"/>
                <a:gd name="T40" fmla="*/ 609 w 1952"/>
                <a:gd name="T41" fmla="*/ 1147 h 2504"/>
                <a:gd name="T42" fmla="*/ 583 w 1952"/>
                <a:gd name="T43" fmla="*/ 811 h 2504"/>
                <a:gd name="T44" fmla="*/ 755 w 1952"/>
                <a:gd name="T45" fmla="*/ 578 h 2504"/>
                <a:gd name="T46" fmla="*/ 989 w 1952"/>
                <a:gd name="T47" fmla="*/ 619 h 2504"/>
                <a:gd name="T48" fmla="*/ 1039 w 1952"/>
                <a:gd name="T49" fmla="*/ 785 h 2504"/>
                <a:gd name="T50" fmla="*/ 992 w 1952"/>
                <a:gd name="T51" fmla="*/ 1014 h 2504"/>
                <a:gd name="T52" fmla="*/ 914 w 1952"/>
                <a:gd name="T53" fmla="*/ 1286 h 2504"/>
                <a:gd name="T54" fmla="*/ 1134 w 1952"/>
                <a:gd name="T55" fmla="*/ 1561 h 2504"/>
                <a:gd name="T56" fmla="*/ 1376 w 1952"/>
                <a:gd name="T57" fmla="*/ 1458 h 2504"/>
                <a:gd name="T58" fmla="*/ 1552 w 1952"/>
                <a:gd name="T59" fmla="*/ 1134 h 2504"/>
                <a:gd name="T60" fmla="*/ 1594 w 1952"/>
                <a:gd name="T61" fmla="*/ 754 h 2504"/>
                <a:gd name="T62" fmla="*/ 1311 w 1952"/>
                <a:gd name="T63" fmla="*/ 312 h 2504"/>
                <a:gd name="T64" fmla="*/ 991 w 1952"/>
                <a:gd name="T65" fmla="*/ 245 h 2504"/>
                <a:gd name="T66" fmla="*/ 652 w 1952"/>
                <a:gd name="T67" fmla="*/ 326 h 2504"/>
                <a:gd name="T68" fmla="*/ 412 w 1952"/>
                <a:gd name="T69" fmla="*/ 538 h 2504"/>
                <a:gd name="T70" fmla="*/ 291 w 1952"/>
                <a:gd name="T71" fmla="*/ 968 h 2504"/>
                <a:gd name="T72" fmla="*/ 390 w 1952"/>
                <a:gd name="T73" fmla="*/ 1224 h 2504"/>
                <a:gd name="T74" fmla="*/ 406 w 1952"/>
                <a:gd name="T75" fmla="*/ 1295 h 2504"/>
                <a:gd name="T76" fmla="*/ 376 w 1952"/>
                <a:gd name="T77" fmla="*/ 1409 h 2504"/>
                <a:gd name="T78" fmla="*/ 298 w 1952"/>
                <a:gd name="T79" fmla="*/ 1445 h 2504"/>
                <a:gd name="T80" fmla="*/ 120 w 1952"/>
                <a:gd name="T81" fmla="*/ 1299 h 2504"/>
                <a:gd name="T82" fmla="*/ 12 w 1952"/>
                <a:gd name="T83" fmla="*/ 957 h 2504"/>
                <a:gd name="T84" fmla="*/ 132 w 1952"/>
                <a:gd name="T85" fmla="*/ 472 h 2504"/>
                <a:gd name="T86" fmla="*/ 384 w 1952"/>
                <a:gd name="T87" fmla="*/ 197 h 2504"/>
                <a:gd name="T88" fmla="*/ 866 w 1952"/>
                <a:gd name="T89" fmla="*/ 12 h 2504"/>
                <a:gd name="T90" fmla="*/ 958 w 1952"/>
                <a:gd name="T91" fmla="*/ 0 h 2504"/>
                <a:gd name="T92" fmla="*/ 1090 w 1952"/>
                <a:gd name="T93" fmla="*/ 0 h 2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2" h="2504">
                  <a:moveTo>
                    <a:pt x="1090" y="0"/>
                  </a:moveTo>
                  <a:cubicBezTo>
                    <a:pt x="1130" y="5"/>
                    <a:pt x="1170" y="9"/>
                    <a:pt x="1209" y="15"/>
                  </a:cubicBezTo>
                  <a:cubicBezTo>
                    <a:pt x="1321" y="32"/>
                    <a:pt x="1426" y="68"/>
                    <a:pt x="1524" y="124"/>
                  </a:cubicBezTo>
                  <a:cubicBezTo>
                    <a:pt x="1615" y="175"/>
                    <a:pt x="1694" y="239"/>
                    <a:pt x="1760" y="319"/>
                  </a:cubicBezTo>
                  <a:cubicBezTo>
                    <a:pt x="1888" y="475"/>
                    <a:pt x="1952" y="653"/>
                    <a:pt x="1947" y="856"/>
                  </a:cubicBezTo>
                  <a:cubicBezTo>
                    <a:pt x="1943" y="1010"/>
                    <a:pt x="1918" y="1161"/>
                    <a:pt x="1859" y="1304"/>
                  </a:cubicBezTo>
                  <a:cubicBezTo>
                    <a:pt x="1799" y="1453"/>
                    <a:pt x="1712" y="1581"/>
                    <a:pt x="1580" y="1676"/>
                  </a:cubicBezTo>
                  <a:cubicBezTo>
                    <a:pt x="1443" y="1776"/>
                    <a:pt x="1290" y="1821"/>
                    <a:pt x="1122" y="1805"/>
                  </a:cubicBezTo>
                  <a:cubicBezTo>
                    <a:pt x="1017" y="1795"/>
                    <a:pt x="925" y="1753"/>
                    <a:pt x="853" y="1675"/>
                  </a:cubicBezTo>
                  <a:cubicBezTo>
                    <a:pt x="842" y="1663"/>
                    <a:pt x="833" y="1650"/>
                    <a:pt x="820" y="1632"/>
                  </a:cubicBezTo>
                  <a:cubicBezTo>
                    <a:pt x="813" y="1657"/>
                    <a:pt x="808" y="1679"/>
                    <a:pt x="803" y="1700"/>
                  </a:cubicBezTo>
                  <a:cubicBezTo>
                    <a:pt x="767" y="1831"/>
                    <a:pt x="736" y="1965"/>
                    <a:pt x="694" y="2094"/>
                  </a:cubicBezTo>
                  <a:cubicBezTo>
                    <a:pt x="672" y="2162"/>
                    <a:pt x="637" y="2226"/>
                    <a:pt x="601" y="2288"/>
                  </a:cubicBezTo>
                  <a:cubicBezTo>
                    <a:pt x="562" y="2354"/>
                    <a:pt x="516" y="2416"/>
                    <a:pt x="473" y="2479"/>
                  </a:cubicBezTo>
                  <a:cubicBezTo>
                    <a:pt x="467" y="2488"/>
                    <a:pt x="458" y="2496"/>
                    <a:pt x="450" y="2504"/>
                  </a:cubicBezTo>
                  <a:cubicBezTo>
                    <a:pt x="445" y="2504"/>
                    <a:pt x="440" y="2504"/>
                    <a:pt x="434" y="2504"/>
                  </a:cubicBezTo>
                  <a:cubicBezTo>
                    <a:pt x="428" y="2473"/>
                    <a:pt x="419" y="2442"/>
                    <a:pt x="416" y="2411"/>
                  </a:cubicBezTo>
                  <a:cubicBezTo>
                    <a:pt x="402" y="2295"/>
                    <a:pt x="397" y="2178"/>
                    <a:pt x="411" y="2062"/>
                  </a:cubicBezTo>
                  <a:cubicBezTo>
                    <a:pt x="419" y="1997"/>
                    <a:pt x="433" y="1932"/>
                    <a:pt x="448" y="1868"/>
                  </a:cubicBezTo>
                  <a:cubicBezTo>
                    <a:pt x="502" y="1635"/>
                    <a:pt x="557" y="1402"/>
                    <a:pt x="612" y="1169"/>
                  </a:cubicBezTo>
                  <a:cubicBezTo>
                    <a:pt x="613" y="1162"/>
                    <a:pt x="612" y="1154"/>
                    <a:pt x="609" y="1147"/>
                  </a:cubicBezTo>
                  <a:cubicBezTo>
                    <a:pt x="568" y="1037"/>
                    <a:pt x="556" y="925"/>
                    <a:pt x="583" y="811"/>
                  </a:cubicBezTo>
                  <a:cubicBezTo>
                    <a:pt x="607" y="710"/>
                    <a:pt x="657" y="625"/>
                    <a:pt x="755" y="578"/>
                  </a:cubicBezTo>
                  <a:cubicBezTo>
                    <a:pt x="824" y="546"/>
                    <a:pt x="929" y="549"/>
                    <a:pt x="989" y="619"/>
                  </a:cubicBezTo>
                  <a:cubicBezTo>
                    <a:pt x="1029" y="667"/>
                    <a:pt x="1042" y="724"/>
                    <a:pt x="1039" y="785"/>
                  </a:cubicBezTo>
                  <a:cubicBezTo>
                    <a:pt x="1036" y="864"/>
                    <a:pt x="1013" y="939"/>
                    <a:pt x="992" y="1014"/>
                  </a:cubicBezTo>
                  <a:cubicBezTo>
                    <a:pt x="965" y="1104"/>
                    <a:pt x="935" y="1194"/>
                    <a:pt x="914" y="1286"/>
                  </a:cubicBezTo>
                  <a:cubicBezTo>
                    <a:pt x="880" y="1435"/>
                    <a:pt x="982" y="1558"/>
                    <a:pt x="1134" y="1561"/>
                  </a:cubicBezTo>
                  <a:cubicBezTo>
                    <a:pt x="1230" y="1562"/>
                    <a:pt x="1309" y="1524"/>
                    <a:pt x="1376" y="1458"/>
                  </a:cubicBezTo>
                  <a:cubicBezTo>
                    <a:pt x="1467" y="1368"/>
                    <a:pt x="1517" y="1255"/>
                    <a:pt x="1552" y="1134"/>
                  </a:cubicBezTo>
                  <a:cubicBezTo>
                    <a:pt x="1587" y="1009"/>
                    <a:pt x="1602" y="882"/>
                    <a:pt x="1594" y="754"/>
                  </a:cubicBezTo>
                  <a:cubicBezTo>
                    <a:pt x="1582" y="555"/>
                    <a:pt x="1491" y="404"/>
                    <a:pt x="1311" y="312"/>
                  </a:cubicBezTo>
                  <a:cubicBezTo>
                    <a:pt x="1211" y="261"/>
                    <a:pt x="1103" y="244"/>
                    <a:pt x="991" y="245"/>
                  </a:cubicBezTo>
                  <a:cubicBezTo>
                    <a:pt x="873" y="247"/>
                    <a:pt x="759" y="271"/>
                    <a:pt x="652" y="326"/>
                  </a:cubicBezTo>
                  <a:cubicBezTo>
                    <a:pt x="555" y="377"/>
                    <a:pt x="474" y="447"/>
                    <a:pt x="412" y="538"/>
                  </a:cubicBezTo>
                  <a:cubicBezTo>
                    <a:pt x="323" y="667"/>
                    <a:pt x="284" y="812"/>
                    <a:pt x="291" y="968"/>
                  </a:cubicBezTo>
                  <a:cubicBezTo>
                    <a:pt x="295" y="1065"/>
                    <a:pt x="327" y="1151"/>
                    <a:pt x="390" y="1224"/>
                  </a:cubicBezTo>
                  <a:cubicBezTo>
                    <a:pt x="409" y="1245"/>
                    <a:pt x="413" y="1269"/>
                    <a:pt x="406" y="1295"/>
                  </a:cubicBezTo>
                  <a:cubicBezTo>
                    <a:pt x="396" y="1333"/>
                    <a:pt x="387" y="1371"/>
                    <a:pt x="376" y="1409"/>
                  </a:cubicBezTo>
                  <a:cubicBezTo>
                    <a:pt x="364" y="1451"/>
                    <a:pt x="338" y="1462"/>
                    <a:pt x="298" y="1445"/>
                  </a:cubicBezTo>
                  <a:cubicBezTo>
                    <a:pt x="225" y="1413"/>
                    <a:pt x="166" y="1364"/>
                    <a:pt x="120" y="1299"/>
                  </a:cubicBezTo>
                  <a:cubicBezTo>
                    <a:pt x="48" y="1196"/>
                    <a:pt x="20" y="1079"/>
                    <a:pt x="12" y="957"/>
                  </a:cubicBezTo>
                  <a:cubicBezTo>
                    <a:pt x="0" y="782"/>
                    <a:pt x="44" y="621"/>
                    <a:pt x="132" y="472"/>
                  </a:cubicBezTo>
                  <a:cubicBezTo>
                    <a:pt x="197" y="362"/>
                    <a:pt x="282" y="272"/>
                    <a:pt x="384" y="197"/>
                  </a:cubicBezTo>
                  <a:cubicBezTo>
                    <a:pt x="528" y="92"/>
                    <a:pt x="690" y="34"/>
                    <a:pt x="866" y="12"/>
                  </a:cubicBezTo>
                  <a:cubicBezTo>
                    <a:pt x="897" y="8"/>
                    <a:pt x="928" y="4"/>
                    <a:pt x="958" y="0"/>
                  </a:cubicBezTo>
                  <a:cubicBezTo>
                    <a:pt x="1002" y="0"/>
                    <a:pt x="1046" y="0"/>
                    <a:pt x="1090"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49" name="Freeform 9">
              <a:hlinkClick r:id="rId6"/>
              <a:extLst>
                <a:ext uri="{FF2B5EF4-FFF2-40B4-BE49-F238E27FC236}">
                  <a16:creationId xmlns:a16="http://schemas.microsoft.com/office/drawing/2014/main" id="{79E3C4C3-75BC-400B-9423-C23D49C6A79D}"/>
                </a:ext>
              </a:extLst>
            </p:cNvPr>
            <p:cNvSpPr>
              <a:spLocks noEditPoints="1"/>
            </p:cNvSpPr>
            <p:nvPr/>
          </p:nvSpPr>
          <p:spPr bwMode="auto">
            <a:xfrm>
              <a:off x="1464842" y="6269454"/>
              <a:ext cx="257601" cy="245189"/>
            </a:xfrm>
            <a:custGeom>
              <a:avLst/>
              <a:gdLst>
                <a:gd name="T0" fmla="*/ 1720 w 1720"/>
                <a:gd name="T1" fmla="*/ 1008 h 1644"/>
                <a:gd name="T2" fmla="*/ 1720 w 1720"/>
                <a:gd name="T3" fmla="*/ 1644 h 1644"/>
                <a:gd name="T4" fmla="*/ 1352 w 1720"/>
                <a:gd name="T5" fmla="*/ 1644 h 1644"/>
                <a:gd name="T6" fmla="*/ 1352 w 1720"/>
                <a:gd name="T7" fmla="*/ 1050 h 1644"/>
                <a:gd name="T8" fmla="*/ 1165 w 1720"/>
                <a:gd name="T9" fmla="*/ 799 h 1644"/>
                <a:gd name="T10" fmla="*/ 976 w 1720"/>
                <a:gd name="T11" fmla="*/ 934 h 1644"/>
                <a:gd name="T12" fmla="*/ 963 w 1720"/>
                <a:gd name="T13" fmla="*/ 1024 h 1644"/>
                <a:gd name="T14" fmla="*/ 963 w 1720"/>
                <a:gd name="T15" fmla="*/ 1644 h 1644"/>
                <a:gd name="T16" fmla="*/ 595 w 1720"/>
                <a:gd name="T17" fmla="*/ 1644 h 1644"/>
                <a:gd name="T18" fmla="*/ 595 w 1720"/>
                <a:gd name="T19" fmla="*/ 534 h 1644"/>
                <a:gd name="T20" fmla="*/ 963 w 1720"/>
                <a:gd name="T21" fmla="*/ 534 h 1644"/>
                <a:gd name="T22" fmla="*/ 963 w 1720"/>
                <a:gd name="T23" fmla="*/ 692 h 1644"/>
                <a:gd name="T24" fmla="*/ 961 w 1720"/>
                <a:gd name="T25" fmla="*/ 695 h 1644"/>
                <a:gd name="T26" fmla="*/ 963 w 1720"/>
                <a:gd name="T27" fmla="*/ 695 h 1644"/>
                <a:gd name="T28" fmla="*/ 963 w 1720"/>
                <a:gd name="T29" fmla="*/ 692 h 1644"/>
                <a:gd name="T30" fmla="*/ 1296 w 1720"/>
                <a:gd name="T31" fmla="*/ 508 h 1644"/>
                <a:gd name="T32" fmla="*/ 1720 w 1720"/>
                <a:gd name="T33" fmla="*/ 1008 h 1644"/>
                <a:gd name="T34" fmla="*/ 209 w 1720"/>
                <a:gd name="T35" fmla="*/ 0 h 1644"/>
                <a:gd name="T36" fmla="*/ 0 w 1720"/>
                <a:gd name="T37" fmla="*/ 191 h 1644"/>
                <a:gd name="T38" fmla="*/ 204 w 1720"/>
                <a:gd name="T39" fmla="*/ 383 h 1644"/>
                <a:gd name="T40" fmla="*/ 206 w 1720"/>
                <a:gd name="T41" fmla="*/ 383 h 1644"/>
                <a:gd name="T42" fmla="*/ 415 w 1720"/>
                <a:gd name="T43" fmla="*/ 191 h 1644"/>
                <a:gd name="T44" fmla="*/ 209 w 1720"/>
                <a:gd name="T45" fmla="*/ 0 h 1644"/>
                <a:gd name="T46" fmla="*/ 22 w 1720"/>
                <a:gd name="T47" fmla="*/ 1644 h 1644"/>
                <a:gd name="T48" fmla="*/ 391 w 1720"/>
                <a:gd name="T49" fmla="*/ 1644 h 1644"/>
                <a:gd name="T50" fmla="*/ 391 w 1720"/>
                <a:gd name="T51" fmla="*/ 534 h 1644"/>
                <a:gd name="T52" fmla="*/ 22 w 1720"/>
                <a:gd name="T53" fmla="*/ 534 h 1644"/>
                <a:gd name="T54" fmla="*/ 22 w 1720"/>
                <a:gd name="T55" fmla="*/ 164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0" h="1644">
                  <a:moveTo>
                    <a:pt x="1720" y="1008"/>
                  </a:moveTo>
                  <a:cubicBezTo>
                    <a:pt x="1720" y="1644"/>
                    <a:pt x="1720" y="1644"/>
                    <a:pt x="1720" y="1644"/>
                  </a:cubicBezTo>
                  <a:cubicBezTo>
                    <a:pt x="1352" y="1644"/>
                    <a:pt x="1352" y="1644"/>
                    <a:pt x="1352" y="1644"/>
                  </a:cubicBezTo>
                  <a:cubicBezTo>
                    <a:pt x="1352" y="1050"/>
                    <a:pt x="1352" y="1050"/>
                    <a:pt x="1352" y="1050"/>
                  </a:cubicBezTo>
                  <a:cubicBezTo>
                    <a:pt x="1352" y="901"/>
                    <a:pt x="1298" y="799"/>
                    <a:pt x="1165" y="799"/>
                  </a:cubicBezTo>
                  <a:cubicBezTo>
                    <a:pt x="1063" y="799"/>
                    <a:pt x="1002" y="868"/>
                    <a:pt x="976" y="934"/>
                  </a:cubicBezTo>
                  <a:cubicBezTo>
                    <a:pt x="966" y="958"/>
                    <a:pt x="963" y="991"/>
                    <a:pt x="963" y="1024"/>
                  </a:cubicBezTo>
                  <a:cubicBezTo>
                    <a:pt x="963" y="1644"/>
                    <a:pt x="963" y="1644"/>
                    <a:pt x="963" y="1644"/>
                  </a:cubicBezTo>
                  <a:cubicBezTo>
                    <a:pt x="595" y="1644"/>
                    <a:pt x="595" y="1644"/>
                    <a:pt x="595" y="1644"/>
                  </a:cubicBezTo>
                  <a:cubicBezTo>
                    <a:pt x="595" y="1644"/>
                    <a:pt x="600" y="639"/>
                    <a:pt x="595" y="534"/>
                  </a:cubicBezTo>
                  <a:cubicBezTo>
                    <a:pt x="963" y="534"/>
                    <a:pt x="963" y="534"/>
                    <a:pt x="963" y="534"/>
                  </a:cubicBezTo>
                  <a:cubicBezTo>
                    <a:pt x="963" y="692"/>
                    <a:pt x="963" y="692"/>
                    <a:pt x="963" y="692"/>
                  </a:cubicBezTo>
                  <a:cubicBezTo>
                    <a:pt x="963" y="693"/>
                    <a:pt x="962" y="694"/>
                    <a:pt x="961" y="695"/>
                  </a:cubicBezTo>
                  <a:cubicBezTo>
                    <a:pt x="963" y="695"/>
                    <a:pt x="963" y="695"/>
                    <a:pt x="963" y="695"/>
                  </a:cubicBezTo>
                  <a:cubicBezTo>
                    <a:pt x="963" y="692"/>
                    <a:pt x="963" y="692"/>
                    <a:pt x="963" y="692"/>
                  </a:cubicBezTo>
                  <a:cubicBezTo>
                    <a:pt x="1012" y="616"/>
                    <a:pt x="1100" y="508"/>
                    <a:pt x="1296" y="508"/>
                  </a:cubicBezTo>
                  <a:cubicBezTo>
                    <a:pt x="1539" y="508"/>
                    <a:pt x="1720" y="667"/>
                    <a:pt x="1720" y="1008"/>
                  </a:cubicBezTo>
                  <a:close/>
                  <a:moveTo>
                    <a:pt x="209" y="0"/>
                  </a:moveTo>
                  <a:cubicBezTo>
                    <a:pt x="83" y="0"/>
                    <a:pt x="0" y="83"/>
                    <a:pt x="0" y="191"/>
                  </a:cubicBezTo>
                  <a:cubicBezTo>
                    <a:pt x="0" y="298"/>
                    <a:pt x="80" y="383"/>
                    <a:pt x="204" y="383"/>
                  </a:cubicBezTo>
                  <a:cubicBezTo>
                    <a:pt x="206" y="383"/>
                    <a:pt x="206" y="383"/>
                    <a:pt x="206" y="383"/>
                  </a:cubicBezTo>
                  <a:cubicBezTo>
                    <a:pt x="335" y="383"/>
                    <a:pt x="415" y="298"/>
                    <a:pt x="415" y="191"/>
                  </a:cubicBezTo>
                  <a:cubicBezTo>
                    <a:pt x="413" y="83"/>
                    <a:pt x="335" y="0"/>
                    <a:pt x="209" y="0"/>
                  </a:cubicBezTo>
                  <a:close/>
                  <a:moveTo>
                    <a:pt x="22" y="1644"/>
                  </a:moveTo>
                  <a:cubicBezTo>
                    <a:pt x="391" y="1644"/>
                    <a:pt x="391" y="1644"/>
                    <a:pt x="391" y="1644"/>
                  </a:cubicBezTo>
                  <a:cubicBezTo>
                    <a:pt x="391" y="534"/>
                    <a:pt x="391" y="534"/>
                    <a:pt x="391" y="534"/>
                  </a:cubicBezTo>
                  <a:cubicBezTo>
                    <a:pt x="22" y="534"/>
                    <a:pt x="22" y="534"/>
                    <a:pt x="22" y="534"/>
                  </a:cubicBezTo>
                  <a:lnTo>
                    <a:pt x="22" y="1644"/>
                  </a:ln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53" name="Freeform 13">
              <a:hlinkClick r:id="rId8"/>
              <a:extLst>
                <a:ext uri="{FF2B5EF4-FFF2-40B4-BE49-F238E27FC236}">
                  <a16:creationId xmlns:a16="http://schemas.microsoft.com/office/drawing/2014/main" id="{FD8CCA0C-B38F-4D8F-8D43-6039E8E97BD4}"/>
                </a:ext>
              </a:extLst>
            </p:cNvPr>
            <p:cNvSpPr>
              <a:spLocks/>
            </p:cNvSpPr>
            <p:nvPr/>
          </p:nvSpPr>
          <p:spPr bwMode="auto">
            <a:xfrm>
              <a:off x="1049770" y="6291849"/>
              <a:ext cx="247907" cy="200353"/>
            </a:xfrm>
            <a:custGeom>
              <a:avLst/>
              <a:gdLst>
                <a:gd name="T0" fmla="*/ 2448 w 2448"/>
                <a:gd name="T1" fmla="*/ 235 h 1988"/>
                <a:gd name="T2" fmla="*/ 2160 w 2448"/>
                <a:gd name="T3" fmla="*/ 314 h 1988"/>
                <a:gd name="T4" fmla="*/ 2380 w 2448"/>
                <a:gd name="T5" fmla="*/ 36 h 1988"/>
                <a:gd name="T6" fmla="*/ 2061 w 2448"/>
                <a:gd name="T7" fmla="*/ 158 h 1988"/>
                <a:gd name="T8" fmla="*/ 1695 w 2448"/>
                <a:gd name="T9" fmla="*/ 0 h 1988"/>
                <a:gd name="T10" fmla="*/ 1193 w 2448"/>
                <a:gd name="T11" fmla="*/ 502 h 1988"/>
                <a:gd name="T12" fmla="*/ 1206 w 2448"/>
                <a:gd name="T13" fmla="*/ 616 h 1988"/>
                <a:gd name="T14" fmla="*/ 171 w 2448"/>
                <a:gd name="T15" fmla="*/ 92 h 1988"/>
                <a:gd name="T16" fmla="*/ 103 w 2448"/>
                <a:gd name="T17" fmla="*/ 344 h 1988"/>
                <a:gd name="T18" fmla="*/ 326 w 2448"/>
                <a:gd name="T19" fmla="*/ 762 h 1988"/>
                <a:gd name="T20" fmla="*/ 99 w 2448"/>
                <a:gd name="T21" fmla="*/ 699 h 1988"/>
                <a:gd name="T22" fmla="*/ 99 w 2448"/>
                <a:gd name="T23" fmla="*/ 705 h 1988"/>
                <a:gd name="T24" fmla="*/ 501 w 2448"/>
                <a:gd name="T25" fmla="*/ 1198 h 1988"/>
                <a:gd name="T26" fmla="*/ 369 w 2448"/>
                <a:gd name="T27" fmla="*/ 1215 h 1988"/>
                <a:gd name="T28" fmla="*/ 274 w 2448"/>
                <a:gd name="T29" fmla="*/ 1206 h 1988"/>
                <a:gd name="T30" fmla="*/ 743 w 2448"/>
                <a:gd name="T31" fmla="*/ 1555 h 1988"/>
                <a:gd name="T32" fmla="*/ 120 w 2448"/>
                <a:gd name="T33" fmla="*/ 1769 h 1988"/>
                <a:gd name="T34" fmla="*/ 0 w 2448"/>
                <a:gd name="T35" fmla="*/ 1762 h 1988"/>
                <a:gd name="T36" fmla="*/ 770 w 2448"/>
                <a:gd name="T37" fmla="*/ 1988 h 1988"/>
                <a:gd name="T38" fmla="*/ 2199 w 2448"/>
                <a:gd name="T39" fmla="*/ 559 h 1988"/>
                <a:gd name="T40" fmla="*/ 2197 w 2448"/>
                <a:gd name="T41" fmla="*/ 494 h 1988"/>
                <a:gd name="T42" fmla="*/ 2448 w 2448"/>
                <a:gd name="T43" fmla="*/ 235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8" h="1988">
                  <a:moveTo>
                    <a:pt x="2448" y="235"/>
                  </a:moveTo>
                  <a:cubicBezTo>
                    <a:pt x="2358" y="275"/>
                    <a:pt x="2261" y="302"/>
                    <a:pt x="2160" y="314"/>
                  </a:cubicBezTo>
                  <a:cubicBezTo>
                    <a:pt x="2263" y="252"/>
                    <a:pt x="2343" y="153"/>
                    <a:pt x="2380" y="36"/>
                  </a:cubicBezTo>
                  <a:cubicBezTo>
                    <a:pt x="2283" y="94"/>
                    <a:pt x="2176" y="136"/>
                    <a:pt x="2061" y="158"/>
                  </a:cubicBezTo>
                  <a:cubicBezTo>
                    <a:pt x="1970" y="61"/>
                    <a:pt x="1839" y="0"/>
                    <a:pt x="1695" y="0"/>
                  </a:cubicBezTo>
                  <a:cubicBezTo>
                    <a:pt x="1417" y="0"/>
                    <a:pt x="1193" y="225"/>
                    <a:pt x="1193" y="502"/>
                  </a:cubicBezTo>
                  <a:cubicBezTo>
                    <a:pt x="1193" y="541"/>
                    <a:pt x="1197" y="580"/>
                    <a:pt x="1206" y="616"/>
                  </a:cubicBezTo>
                  <a:cubicBezTo>
                    <a:pt x="788" y="595"/>
                    <a:pt x="418" y="395"/>
                    <a:pt x="171" y="92"/>
                  </a:cubicBezTo>
                  <a:cubicBezTo>
                    <a:pt x="127" y="166"/>
                    <a:pt x="103" y="252"/>
                    <a:pt x="103" y="344"/>
                  </a:cubicBezTo>
                  <a:cubicBezTo>
                    <a:pt x="103" y="518"/>
                    <a:pt x="191" y="672"/>
                    <a:pt x="326" y="762"/>
                  </a:cubicBezTo>
                  <a:cubicBezTo>
                    <a:pt x="244" y="759"/>
                    <a:pt x="166" y="736"/>
                    <a:pt x="99" y="699"/>
                  </a:cubicBezTo>
                  <a:cubicBezTo>
                    <a:pt x="99" y="705"/>
                    <a:pt x="99" y="705"/>
                    <a:pt x="99" y="705"/>
                  </a:cubicBezTo>
                  <a:cubicBezTo>
                    <a:pt x="99" y="948"/>
                    <a:pt x="272" y="1151"/>
                    <a:pt x="501" y="1198"/>
                  </a:cubicBezTo>
                  <a:cubicBezTo>
                    <a:pt x="459" y="1209"/>
                    <a:pt x="415" y="1215"/>
                    <a:pt x="369" y="1215"/>
                  </a:cubicBezTo>
                  <a:cubicBezTo>
                    <a:pt x="337" y="1215"/>
                    <a:pt x="305" y="1212"/>
                    <a:pt x="274" y="1206"/>
                  </a:cubicBezTo>
                  <a:cubicBezTo>
                    <a:pt x="338" y="1405"/>
                    <a:pt x="524" y="1551"/>
                    <a:pt x="743" y="1555"/>
                  </a:cubicBezTo>
                  <a:cubicBezTo>
                    <a:pt x="572" y="1689"/>
                    <a:pt x="355" y="1769"/>
                    <a:pt x="120" y="1769"/>
                  </a:cubicBezTo>
                  <a:cubicBezTo>
                    <a:pt x="79" y="1769"/>
                    <a:pt x="39" y="1767"/>
                    <a:pt x="0" y="1762"/>
                  </a:cubicBezTo>
                  <a:cubicBezTo>
                    <a:pt x="222" y="1905"/>
                    <a:pt x="486" y="1988"/>
                    <a:pt x="770" y="1988"/>
                  </a:cubicBezTo>
                  <a:cubicBezTo>
                    <a:pt x="1694" y="1988"/>
                    <a:pt x="2199" y="1223"/>
                    <a:pt x="2199" y="559"/>
                  </a:cubicBezTo>
                  <a:cubicBezTo>
                    <a:pt x="2197" y="494"/>
                    <a:pt x="2197" y="494"/>
                    <a:pt x="2197" y="494"/>
                  </a:cubicBezTo>
                  <a:cubicBezTo>
                    <a:pt x="2295" y="424"/>
                    <a:pt x="2381" y="336"/>
                    <a:pt x="2448" y="235"/>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grpSp>
      <p:sp>
        <p:nvSpPr>
          <p:cNvPr id="3" name="Footer Placeholder 1">
            <a:extLst>
              <a:ext uri="{FF2B5EF4-FFF2-40B4-BE49-F238E27FC236}">
                <a16:creationId xmlns:a16="http://schemas.microsoft.com/office/drawing/2014/main" id="{97F98FE1-FA10-4663-8143-42AE9000D3E7}"/>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870677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left)">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36">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quare photo (Back)">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8FF6FD-C58D-4D38-9636-00419B9014F5}"/>
              </a:ext>
            </a:extLst>
          </p:cNvPr>
          <p:cNvSpPr/>
          <p:nvPr userDrawn="1"/>
        </p:nvSpPr>
        <p:spPr bwMode="auto">
          <a:xfrm>
            <a:off x="0" y="5076100"/>
            <a:ext cx="12192000" cy="1781899"/>
          </a:xfrm>
          <a:prstGeom prst="rect">
            <a:avLst/>
          </a:pr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8" name="Title 1">
            <a:extLst>
              <a:ext uri="{FF2B5EF4-FFF2-40B4-BE49-F238E27FC236}">
                <a16:creationId xmlns:a16="http://schemas.microsoft.com/office/drawing/2014/main" id="{2F7E2986-6A86-4C7C-B809-C07CD84F3360}"/>
              </a:ext>
            </a:extLst>
          </p:cNvPr>
          <p:cNvSpPr>
            <a:spLocks noGrp="1"/>
          </p:cNvSpPr>
          <p:nvPr>
            <p:ph type="title"/>
          </p:nvPr>
        </p:nvSpPr>
        <p:spPr>
          <a:xfrm>
            <a:off x="880115" y="5296551"/>
            <a:ext cx="11018520" cy="492443"/>
          </a:xfrm>
        </p:spPr>
        <p:txBody>
          <a:bodyPr vert="horz" wrap="square" lIns="0" tIns="0" rIns="0" bIns="0" rtlCol="0">
            <a:spAutoFit/>
          </a:bodyPr>
          <a:lstStyle>
            <a:lvl1pPr>
              <a:defRPr lang="en-IN" sz="32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grpSp>
        <p:nvGrpSpPr>
          <p:cNvPr id="36" name="Group 35">
            <a:extLst>
              <a:ext uri="{FF2B5EF4-FFF2-40B4-BE49-F238E27FC236}">
                <a16:creationId xmlns:a16="http://schemas.microsoft.com/office/drawing/2014/main" id="{BFE70EA0-B181-4089-B8C7-3BB1B5DFBD9A}"/>
              </a:ext>
            </a:extLst>
          </p:cNvPr>
          <p:cNvGrpSpPr/>
          <p:nvPr userDrawn="1"/>
        </p:nvGrpSpPr>
        <p:grpSpPr>
          <a:xfrm>
            <a:off x="152183" y="5450361"/>
            <a:ext cx="601980" cy="601980"/>
            <a:chOff x="997658" y="5928725"/>
            <a:chExt cx="601980" cy="601980"/>
          </a:xfrm>
        </p:grpSpPr>
        <p:sp>
          <p:nvSpPr>
            <p:cNvPr id="37" name="Oval 36">
              <a:extLst>
                <a:ext uri="{FF2B5EF4-FFF2-40B4-BE49-F238E27FC236}">
                  <a16:creationId xmlns:a16="http://schemas.microsoft.com/office/drawing/2014/main" id="{5AC8C939-F307-404F-A1C6-D151591A7ABC}"/>
                </a:ext>
              </a:extLst>
            </p:cNvPr>
            <p:cNvSpPr/>
            <p:nvPr/>
          </p:nvSpPr>
          <p:spPr bwMode="auto">
            <a:xfrm>
              <a:off x="997658" y="5928725"/>
              <a:ext cx="601980" cy="601980"/>
            </a:xfrm>
            <a:prstGeom prst="ellipse">
              <a:avLst/>
            </a:prstGeom>
            <a:noFill/>
            <a:ln w="12700" cap="flat" cmpd="sng" algn="ctr">
              <a:solidFill>
                <a:schemeClr val="bg1"/>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38" name="data 3" descr="data, cloud, scale">
              <a:extLst>
                <a:ext uri="{FF2B5EF4-FFF2-40B4-BE49-F238E27FC236}">
                  <a16:creationId xmlns:a16="http://schemas.microsoft.com/office/drawing/2014/main" id="{734CACFF-5D83-41FB-A674-107EFD7A6ADE}"/>
                </a:ext>
              </a:extLst>
            </p:cNvPr>
            <p:cNvGrpSpPr>
              <a:grpSpLocks noChangeAspect="1"/>
            </p:cNvGrpSpPr>
            <p:nvPr/>
          </p:nvGrpSpPr>
          <p:grpSpPr bwMode="auto">
            <a:xfrm>
              <a:off x="1100674" y="6032501"/>
              <a:ext cx="395950" cy="394430"/>
              <a:chOff x="5781" y="773"/>
              <a:chExt cx="261" cy="260"/>
            </a:xfrm>
          </p:grpSpPr>
          <p:sp>
            <p:nvSpPr>
              <p:cNvPr id="39" name="AutoShape 87">
                <a:extLst>
                  <a:ext uri="{FF2B5EF4-FFF2-40B4-BE49-F238E27FC236}">
                    <a16:creationId xmlns:a16="http://schemas.microsoft.com/office/drawing/2014/main" id="{647E4122-2F94-460C-AC30-D02C0C05CE14}"/>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Freeform 89">
                <a:extLst>
                  <a:ext uri="{FF2B5EF4-FFF2-40B4-BE49-F238E27FC236}">
                    <a16:creationId xmlns:a16="http://schemas.microsoft.com/office/drawing/2014/main" id="{1E6178E5-8B86-42D1-986E-7946A0AFF2C9}"/>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90">
                <a:extLst>
                  <a:ext uri="{FF2B5EF4-FFF2-40B4-BE49-F238E27FC236}">
                    <a16:creationId xmlns:a16="http://schemas.microsoft.com/office/drawing/2014/main" id="{E37E8C17-1450-499F-9FE5-68411B6B5081}"/>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91">
                <a:extLst>
                  <a:ext uri="{FF2B5EF4-FFF2-40B4-BE49-F238E27FC236}">
                    <a16:creationId xmlns:a16="http://schemas.microsoft.com/office/drawing/2014/main" id="{07F5F893-8974-492F-8326-E87BEB001FD0}"/>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 name="Freeform 92">
                <a:extLst>
                  <a:ext uri="{FF2B5EF4-FFF2-40B4-BE49-F238E27FC236}">
                    <a16:creationId xmlns:a16="http://schemas.microsoft.com/office/drawing/2014/main" id="{3D57F4F9-EB6B-45C5-A4B4-9A0604603BEB}"/>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 name="Freeform 93">
                <a:extLst>
                  <a:ext uri="{FF2B5EF4-FFF2-40B4-BE49-F238E27FC236}">
                    <a16:creationId xmlns:a16="http://schemas.microsoft.com/office/drawing/2014/main" id="{AEA4DE4B-4910-4707-83B8-1BABECE8C3B2}"/>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94">
                <a:extLst>
                  <a:ext uri="{FF2B5EF4-FFF2-40B4-BE49-F238E27FC236}">
                    <a16:creationId xmlns:a16="http://schemas.microsoft.com/office/drawing/2014/main" id="{D27B8DB2-EE14-4B02-A2FD-5D95AA43183C}"/>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 name="Freeform 95">
                <a:extLst>
                  <a:ext uri="{FF2B5EF4-FFF2-40B4-BE49-F238E27FC236}">
                    <a16:creationId xmlns:a16="http://schemas.microsoft.com/office/drawing/2014/main" id="{B42A6AFE-AFD7-492B-A508-5819D9FADBCC}"/>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96">
                <a:extLst>
                  <a:ext uri="{FF2B5EF4-FFF2-40B4-BE49-F238E27FC236}">
                    <a16:creationId xmlns:a16="http://schemas.microsoft.com/office/drawing/2014/main" id="{050AD86A-175F-433D-8683-3CC16C8014A2}"/>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97">
                <a:extLst>
                  <a:ext uri="{FF2B5EF4-FFF2-40B4-BE49-F238E27FC236}">
                    <a16:creationId xmlns:a16="http://schemas.microsoft.com/office/drawing/2014/main" id="{E6D12FF7-7148-4B94-B4F7-8C9AB82D3024}"/>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386D858E-C040-4CA2-91BC-82C037856A03}"/>
              </a:ext>
            </a:extLst>
          </p:cNvPr>
          <p:cNvGrpSpPr/>
          <p:nvPr userDrawn="1"/>
        </p:nvGrpSpPr>
        <p:grpSpPr>
          <a:xfrm>
            <a:off x="4467225" y="5945950"/>
            <a:ext cx="1307026" cy="417153"/>
            <a:chOff x="4467225" y="5945950"/>
            <a:chExt cx="1307026" cy="417153"/>
          </a:xfrm>
        </p:grpSpPr>
        <p:sp>
          <p:nvSpPr>
            <p:cNvPr id="51" name="Arc 50">
              <a:extLst>
                <a:ext uri="{FF2B5EF4-FFF2-40B4-BE49-F238E27FC236}">
                  <a16:creationId xmlns:a16="http://schemas.microsoft.com/office/drawing/2014/main" id="{8E1AF1DB-46C0-40BE-986D-A76F3FF4F567}"/>
                </a:ext>
              </a:extLst>
            </p:cNvPr>
            <p:cNvSpPr/>
            <p:nvPr/>
          </p:nvSpPr>
          <p:spPr>
            <a:xfrm>
              <a:off x="4467225" y="5945950"/>
              <a:ext cx="1245394" cy="417153"/>
            </a:xfrm>
            <a:prstGeom prst="arc">
              <a:avLst>
                <a:gd name="adj1" fmla="val 16871"/>
                <a:gd name="adj2" fmla="val 10742345"/>
              </a:avLst>
            </a:prstGeom>
            <a:ln w="12700" cap="rnd">
              <a:solidFill>
                <a:srgbClr val="50E6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Isosceles Triangle 51">
              <a:extLst>
                <a:ext uri="{FF2B5EF4-FFF2-40B4-BE49-F238E27FC236}">
                  <a16:creationId xmlns:a16="http://schemas.microsoft.com/office/drawing/2014/main" id="{27A51E8A-451B-4F9D-9C0A-C6BB306D8577}"/>
                </a:ext>
              </a:extLst>
            </p:cNvPr>
            <p:cNvSpPr/>
            <p:nvPr/>
          </p:nvSpPr>
          <p:spPr bwMode="auto">
            <a:xfrm rot="1837160">
              <a:off x="5642559" y="6131270"/>
              <a:ext cx="131692" cy="8502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8A4C10D1-B500-4887-9D2C-7C9A30E6CC7C}"/>
              </a:ext>
            </a:extLst>
          </p:cNvPr>
          <p:cNvSpPr txBox="1"/>
          <p:nvPr userDrawn="1"/>
        </p:nvSpPr>
        <p:spPr>
          <a:xfrm>
            <a:off x="880116" y="5809106"/>
            <a:ext cx="11056686" cy="307777"/>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Build, extend, and enrich a connected experience across data, workflow, and cloud scale analytics</a:t>
            </a:r>
            <a:endParaRPr kumimoji="0" lang="en-US" sz="1400" b="0" i="0" u="none" strike="noStrike" kern="1200" cap="none" spc="0" normalizeH="0" baseline="0" noProof="0">
              <a:ln>
                <a:noFill/>
              </a:ln>
              <a:solidFill>
                <a:srgbClr val="50E6FF"/>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173DB29C-DDE2-4C05-983B-34FCA006882B}"/>
              </a:ext>
            </a:extLst>
          </p:cNvPr>
          <p:cNvSpPr>
            <a:spLocks noGrp="1"/>
          </p:cNvSpPr>
          <p:nvPr>
            <p:ph type="body" sz="quarter" idx="10" hasCustomPrompt="1"/>
          </p:nvPr>
        </p:nvSpPr>
        <p:spPr>
          <a:xfrm>
            <a:off x="10218420" y="6404466"/>
            <a:ext cx="1554480" cy="276999"/>
          </a:xfrm>
        </p:spPr>
        <p:txBody>
          <a:bodyPr vert="horz" wrap="square" lIns="0" tIns="0" rIns="0" bIns="0" rtlCol="0">
            <a:spAutoFit/>
          </a:bodyPr>
          <a:lstStyle>
            <a:lvl1pPr>
              <a:buNone/>
              <a:defRPr kumimoji="0" lang="en-US" sz="1800" b="0" i="0" u="none" strike="noStrike" cap="none" normalizeH="0" dirty="0">
                <a:ln>
                  <a:noFill/>
                </a:ln>
                <a:solidFill>
                  <a:srgbClr val="50E6FF"/>
                </a:solidFill>
                <a:effectLst/>
                <a:uLnTx/>
                <a:uFillTx/>
                <a:latin typeface="Segoe UI"/>
              </a:defRPr>
            </a:lvl1pPr>
            <a:lvl2pPr>
              <a:buNone/>
              <a:defRPr lang="en-US" dirty="0" smtClean="0"/>
            </a:lvl2pPr>
            <a:lvl3pPr>
              <a:buNone/>
              <a:defRPr lang="en-US" dirty="0" smtClean="0"/>
            </a:lvl3pPr>
            <a:lvl4pPr>
              <a:buNone/>
              <a:defRPr lang="en-US" dirty="0" smtClean="0"/>
            </a:lvl4pPr>
            <a:lvl5pPr>
              <a:buNone/>
              <a:defRPr lang="en-US" dirty="0"/>
            </a:lvl5pPr>
          </a:lstStyle>
          <a:p>
            <a:pPr marL="0" marR="0" lvl="0" indent="0" algn="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IN" sz="18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Private Preview</a:t>
            </a:r>
          </a:p>
        </p:txBody>
      </p:sp>
      <p:sp>
        <p:nvSpPr>
          <p:cNvPr id="26" name="Rectangle 25">
            <a:extLst>
              <a:ext uri="{FF2B5EF4-FFF2-40B4-BE49-F238E27FC236}">
                <a16:creationId xmlns:a16="http://schemas.microsoft.com/office/drawing/2014/main" id="{3917F2B8-AA81-4571-B31B-04CF97301A1A}"/>
              </a:ext>
            </a:extLst>
          </p:cNvPr>
          <p:cNvSpPr/>
          <p:nvPr userDrawn="1"/>
        </p:nvSpPr>
        <p:spPr>
          <a:xfrm>
            <a:off x="7511725" y="6450632"/>
            <a:ext cx="2529539" cy="184666"/>
          </a:xfrm>
          <a:prstGeom prst="rect">
            <a:avLst/>
          </a:prstGeom>
          <a:ln>
            <a:noFill/>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E6FF"/>
                </a:solidFill>
                <a:effectLst/>
                <a:uLnTx/>
                <a:uFillTx/>
              </a:rPr>
              <a:t>Microsoft Cloud for Financial Services</a:t>
            </a:r>
            <a:endParaRPr kumimoji="0" lang="en-US" sz="1200" b="0" i="0" u="sng" strike="noStrike" kern="0" cap="none" spc="0" normalizeH="0" baseline="0" noProof="0">
              <a:ln>
                <a:noFill/>
              </a:ln>
              <a:solidFill>
                <a:srgbClr val="50E6FF"/>
              </a:solidFill>
              <a:effectLst/>
              <a:uLnTx/>
              <a:uFillTx/>
            </a:endParaRPr>
          </a:p>
        </p:txBody>
      </p:sp>
      <p:grpSp>
        <p:nvGrpSpPr>
          <p:cNvPr id="27" name="Group 26">
            <a:extLst>
              <a:ext uri="{FF2B5EF4-FFF2-40B4-BE49-F238E27FC236}">
                <a16:creationId xmlns:a16="http://schemas.microsoft.com/office/drawing/2014/main" id="{3E90187B-8AE1-4DC5-BC9C-137E0A82F5E3}"/>
              </a:ext>
            </a:extLst>
          </p:cNvPr>
          <p:cNvGrpSpPr/>
          <p:nvPr userDrawn="1"/>
        </p:nvGrpSpPr>
        <p:grpSpPr>
          <a:xfrm>
            <a:off x="6104393" y="6410475"/>
            <a:ext cx="1230644" cy="264980"/>
            <a:chOff x="584200" y="6219736"/>
            <a:chExt cx="1600309" cy="344577"/>
          </a:xfrm>
        </p:grpSpPr>
        <p:grpSp>
          <p:nvGrpSpPr>
            <p:cNvPr id="29" name="Group 28">
              <a:extLst>
                <a:ext uri="{FF2B5EF4-FFF2-40B4-BE49-F238E27FC236}">
                  <a16:creationId xmlns:a16="http://schemas.microsoft.com/office/drawing/2014/main" id="{03213A48-3E28-4E09-A119-715D247AE765}"/>
                </a:ext>
              </a:extLst>
            </p:cNvPr>
            <p:cNvGrpSpPr/>
            <p:nvPr/>
          </p:nvGrpSpPr>
          <p:grpSpPr>
            <a:xfrm>
              <a:off x="584200" y="6219736"/>
              <a:ext cx="1600308" cy="344577"/>
              <a:chOff x="526815" y="9598662"/>
              <a:chExt cx="940753" cy="202562"/>
            </a:xfrm>
          </p:grpSpPr>
          <p:sp>
            <p:nvSpPr>
              <p:cNvPr id="54" name="Rectangle: Rounded Corners 29">
                <a:hlinkClick r:id="rId2"/>
                <a:extLst>
                  <a:ext uri="{FF2B5EF4-FFF2-40B4-BE49-F238E27FC236}">
                    <a16:creationId xmlns:a16="http://schemas.microsoft.com/office/drawing/2014/main" id="{2D504E47-E66B-494E-AD61-95930791E01B}"/>
                  </a:ext>
                </a:extLst>
              </p:cNvPr>
              <p:cNvSpPr/>
              <p:nvPr/>
            </p:nvSpPr>
            <p:spPr>
              <a:xfrm>
                <a:off x="772877" y="9598662"/>
                <a:ext cx="202562" cy="202562"/>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Rounded Corners 27">
                <a:hlinkClick r:id="rId3"/>
                <a:extLst>
                  <a:ext uri="{FF2B5EF4-FFF2-40B4-BE49-F238E27FC236}">
                    <a16:creationId xmlns:a16="http://schemas.microsoft.com/office/drawing/2014/main" id="{BDFD63C4-330A-41FB-A1EA-70501EE3F52D}"/>
                  </a:ext>
                </a:extLst>
              </p:cNvPr>
              <p:cNvSpPr/>
              <p:nvPr/>
            </p:nvSpPr>
            <p:spPr>
              <a:xfrm>
                <a:off x="526815" y="9598662"/>
                <a:ext cx="202562" cy="202562"/>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28">
                <a:hlinkClick r:id="rId3"/>
                <a:extLst>
                  <a:ext uri="{FF2B5EF4-FFF2-40B4-BE49-F238E27FC236}">
                    <a16:creationId xmlns:a16="http://schemas.microsoft.com/office/drawing/2014/main" id="{07817351-7E68-46D5-BC35-1EA38E415FBA}"/>
                  </a:ext>
                </a:extLst>
              </p:cNvPr>
              <p:cNvSpPr/>
              <p:nvPr/>
            </p:nvSpPr>
            <p:spPr>
              <a:xfrm>
                <a:off x="588441" y="9624903"/>
                <a:ext cx="79309" cy="150080"/>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Rounded Corners 25">
                <a:hlinkClick r:id="rId4"/>
                <a:extLst>
                  <a:ext uri="{FF2B5EF4-FFF2-40B4-BE49-F238E27FC236}">
                    <a16:creationId xmlns:a16="http://schemas.microsoft.com/office/drawing/2014/main" id="{A5C8DD0E-48F4-40B5-B054-F089D4327142}"/>
                  </a:ext>
                </a:extLst>
              </p:cNvPr>
              <p:cNvSpPr/>
              <p:nvPr/>
            </p:nvSpPr>
            <p:spPr>
              <a:xfrm>
                <a:off x="1018943" y="9598662"/>
                <a:ext cx="202562" cy="202562"/>
              </a:xfrm>
              <a:prstGeom prst="roundRect">
                <a:avLst>
                  <a:gd name="adj" fmla="val 10332"/>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Rounded Corners 57">
                <a:hlinkClick r:id="rId5"/>
                <a:extLst>
                  <a:ext uri="{FF2B5EF4-FFF2-40B4-BE49-F238E27FC236}">
                    <a16:creationId xmlns:a16="http://schemas.microsoft.com/office/drawing/2014/main" id="{978FB47E-891D-45D8-B449-39E27AC21ABD}"/>
                  </a:ext>
                </a:extLst>
              </p:cNvPr>
              <p:cNvSpPr/>
              <p:nvPr/>
            </p:nvSpPr>
            <p:spPr>
              <a:xfrm>
                <a:off x="1265006" y="9598662"/>
                <a:ext cx="202562" cy="202562"/>
              </a:xfrm>
              <a:prstGeom prst="roundRect">
                <a:avLst>
                  <a:gd name="adj" fmla="val 8221"/>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5">
                <a:hlinkClick r:id="rId5"/>
                <a:extLst>
                  <a:ext uri="{FF2B5EF4-FFF2-40B4-BE49-F238E27FC236}">
                    <a16:creationId xmlns:a16="http://schemas.microsoft.com/office/drawing/2014/main" id="{2F6853DF-5766-4017-BE6A-39ED44A526A5}"/>
                  </a:ext>
                </a:extLst>
              </p:cNvPr>
              <p:cNvSpPr>
                <a:spLocks/>
              </p:cNvSpPr>
              <p:nvPr/>
            </p:nvSpPr>
            <p:spPr bwMode="auto">
              <a:xfrm>
                <a:off x="1305013" y="9622098"/>
                <a:ext cx="121991" cy="155681"/>
              </a:xfrm>
              <a:custGeom>
                <a:avLst/>
                <a:gdLst>
                  <a:gd name="T0" fmla="*/ 1090 w 1952"/>
                  <a:gd name="T1" fmla="*/ 0 h 2504"/>
                  <a:gd name="T2" fmla="*/ 1209 w 1952"/>
                  <a:gd name="T3" fmla="*/ 15 h 2504"/>
                  <a:gd name="T4" fmla="*/ 1524 w 1952"/>
                  <a:gd name="T5" fmla="*/ 124 h 2504"/>
                  <a:gd name="T6" fmla="*/ 1760 w 1952"/>
                  <a:gd name="T7" fmla="*/ 319 h 2504"/>
                  <a:gd name="T8" fmla="*/ 1947 w 1952"/>
                  <a:gd name="T9" fmla="*/ 856 h 2504"/>
                  <a:gd name="T10" fmla="*/ 1859 w 1952"/>
                  <a:gd name="T11" fmla="*/ 1304 h 2504"/>
                  <a:gd name="T12" fmla="*/ 1580 w 1952"/>
                  <a:gd name="T13" fmla="*/ 1676 h 2504"/>
                  <a:gd name="T14" fmla="*/ 1122 w 1952"/>
                  <a:gd name="T15" fmla="*/ 1805 h 2504"/>
                  <a:gd name="T16" fmla="*/ 853 w 1952"/>
                  <a:gd name="T17" fmla="*/ 1675 h 2504"/>
                  <a:gd name="T18" fmla="*/ 820 w 1952"/>
                  <a:gd name="T19" fmla="*/ 1632 h 2504"/>
                  <a:gd name="T20" fmla="*/ 803 w 1952"/>
                  <a:gd name="T21" fmla="*/ 1700 h 2504"/>
                  <a:gd name="T22" fmla="*/ 694 w 1952"/>
                  <a:gd name="T23" fmla="*/ 2094 h 2504"/>
                  <a:gd name="T24" fmla="*/ 601 w 1952"/>
                  <a:gd name="T25" fmla="*/ 2288 h 2504"/>
                  <a:gd name="T26" fmla="*/ 473 w 1952"/>
                  <a:gd name="T27" fmla="*/ 2479 h 2504"/>
                  <a:gd name="T28" fmla="*/ 450 w 1952"/>
                  <a:gd name="T29" fmla="*/ 2504 h 2504"/>
                  <a:gd name="T30" fmla="*/ 434 w 1952"/>
                  <a:gd name="T31" fmla="*/ 2504 h 2504"/>
                  <a:gd name="T32" fmla="*/ 416 w 1952"/>
                  <a:gd name="T33" fmla="*/ 2411 h 2504"/>
                  <a:gd name="T34" fmla="*/ 411 w 1952"/>
                  <a:gd name="T35" fmla="*/ 2062 h 2504"/>
                  <a:gd name="T36" fmla="*/ 448 w 1952"/>
                  <a:gd name="T37" fmla="*/ 1868 h 2504"/>
                  <a:gd name="T38" fmla="*/ 612 w 1952"/>
                  <a:gd name="T39" fmla="*/ 1169 h 2504"/>
                  <a:gd name="T40" fmla="*/ 609 w 1952"/>
                  <a:gd name="T41" fmla="*/ 1147 h 2504"/>
                  <a:gd name="T42" fmla="*/ 583 w 1952"/>
                  <a:gd name="T43" fmla="*/ 811 h 2504"/>
                  <a:gd name="T44" fmla="*/ 755 w 1952"/>
                  <a:gd name="T45" fmla="*/ 578 h 2504"/>
                  <a:gd name="T46" fmla="*/ 989 w 1952"/>
                  <a:gd name="T47" fmla="*/ 619 h 2504"/>
                  <a:gd name="T48" fmla="*/ 1039 w 1952"/>
                  <a:gd name="T49" fmla="*/ 785 h 2504"/>
                  <a:gd name="T50" fmla="*/ 992 w 1952"/>
                  <a:gd name="T51" fmla="*/ 1014 h 2504"/>
                  <a:gd name="T52" fmla="*/ 914 w 1952"/>
                  <a:gd name="T53" fmla="*/ 1286 h 2504"/>
                  <a:gd name="T54" fmla="*/ 1134 w 1952"/>
                  <a:gd name="T55" fmla="*/ 1561 h 2504"/>
                  <a:gd name="T56" fmla="*/ 1376 w 1952"/>
                  <a:gd name="T57" fmla="*/ 1458 h 2504"/>
                  <a:gd name="T58" fmla="*/ 1552 w 1952"/>
                  <a:gd name="T59" fmla="*/ 1134 h 2504"/>
                  <a:gd name="T60" fmla="*/ 1594 w 1952"/>
                  <a:gd name="T61" fmla="*/ 754 h 2504"/>
                  <a:gd name="T62" fmla="*/ 1311 w 1952"/>
                  <a:gd name="T63" fmla="*/ 312 h 2504"/>
                  <a:gd name="T64" fmla="*/ 991 w 1952"/>
                  <a:gd name="T65" fmla="*/ 245 h 2504"/>
                  <a:gd name="T66" fmla="*/ 652 w 1952"/>
                  <a:gd name="T67" fmla="*/ 326 h 2504"/>
                  <a:gd name="T68" fmla="*/ 412 w 1952"/>
                  <a:gd name="T69" fmla="*/ 538 h 2504"/>
                  <a:gd name="T70" fmla="*/ 291 w 1952"/>
                  <a:gd name="T71" fmla="*/ 968 h 2504"/>
                  <a:gd name="T72" fmla="*/ 390 w 1952"/>
                  <a:gd name="T73" fmla="*/ 1224 h 2504"/>
                  <a:gd name="T74" fmla="*/ 406 w 1952"/>
                  <a:gd name="T75" fmla="*/ 1295 h 2504"/>
                  <a:gd name="T76" fmla="*/ 376 w 1952"/>
                  <a:gd name="T77" fmla="*/ 1409 h 2504"/>
                  <a:gd name="T78" fmla="*/ 298 w 1952"/>
                  <a:gd name="T79" fmla="*/ 1445 h 2504"/>
                  <a:gd name="T80" fmla="*/ 120 w 1952"/>
                  <a:gd name="T81" fmla="*/ 1299 h 2504"/>
                  <a:gd name="T82" fmla="*/ 12 w 1952"/>
                  <a:gd name="T83" fmla="*/ 957 h 2504"/>
                  <a:gd name="T84" fmla="*/ 132 w 1952"/>
                  <a:gd name="T85" fmla="*/ 472 h 2504"/>
                  <a:gd name="T86" fmla="*/ 384 w 1952"/>
                  <a:gd name="T87" fmla="*/ 197 h 2504"/>
                  <a:gd name="T88" fmla="*/ 866 w 1952"/>
                  <a:gd name="T89" fmla="*/ 12 h 2504"/>
                  <a:gd name="T90" fmla="*/ 958 w 1952"/>
                  <a:gd name="T91" fmla="*/ 0 h 2504"/>
                  <a:gd name="T92" fmla="*/ 1090 w 1952"/>
                  <a:gd name="T93" fmla="*/ 0 h 2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2" h="2504">
                    <a:moveTo>
                      <a:pt x="1090" y="0"/>
                    </a:moveTo>
                    <a:cubicBezTo>
                      <a:pt x="1130" y="5"/>
                      <a:pt x="1170" y="9"/>
                      <a:pt x="1209" y="15"/>
                    </a:cubicBezTo>
                    <a:cubicBezTo>
                      <a:pt x="1321" y="32"/>
                      <a:pt x="1426" y="68"/>
                      <a:pt x="1524" y="124"/>
                    </a:cubicBezTo>
                    <a:cubicBezTo>
                      <a:pt x="1615" y="175"/>
                      <a:pt x="1694" y="239"/>
                      <a:pt x="1760" y="319"/>
                    </a:cubicBezTo>
                    <a:cubicBezTo>
                      <a:pt x="1888" y="475"/>
                      <a:pt x="1952" y="653"/>
                      <a:pt x="1947" y="856"/>
                    </a:cubicBezTo>
                    <a:cubicBezTo>
                      <a:pt x="1943" y="1010"/>
                      <a:pt x="1918" y="1161"/>
                      <a:pt x="1859" y="1304"/>
                    </a:cubicBezTo>
                    <a:cubicBezTo>
                      <a:pt x="1799" y="1453"/>
                      <a:pt x="1712" y="1581"/>
                      <a:pt x="1580" y="1676"/>
                    </a:cubicBezTo>
                    <a:cubicBezTo>
                      <a:pt x="1443" y="1776"/>
                      <a:pt x="1290" y="1821"/>
                      <a:pt x="1122" y="1805"/>
                    </a:cubicBezTo>
                    <a:cubicBezTo>
                      <a:pt x="1017" y="1795"/>
                      <a:pt x="925" y="1753"/>
                      <a:pt x="853" y="1675"/>
                    </a:cubicBezTo>
                    <a:cubicBezTo>
                      <a:pt x="842" y="1663"/>
                      <a:pt x="833" y="1650"/>
                      <a:pt x="820" y="1632"/>
                    </a:cubicBezTo>
                    <a:cubicBezTo>
                      <a:pt x="813" y="1657"/>
                      <a:pt x="808" y="1679"/>
                      <a:pt x="803" y="1700"/>
                    </a:cubicBezTo>
                    <a:cubicBezTo>
                      <a:pt x="767" y="1831"/>
                      <a:pt x="736" y="1965"/>
                      <a:pt x="694" y="2094"/>
                    </a:cubicBezTo>
                    <a:cubicBezTo>
                      <a:pt x="672" y="2162"/>
                      <a:pt x="637" y="2226"/>
                      <a:pt x="601" y="2288"/>
                    </a:cubicBezTo>
                    <a:cubicBezTo>
                      <a:pt x="562" y="2354"/>
                      <a:pt x="516" y="2416"/>
                      <a:pt x="473" y="2479"/>
                    </a:cubicBezTo>
                    <a:cubicBezTo>
                      <a:pt x="467" y="2488"/>
                      <a:pt x="458" y="2496"/>
                      <a:pt x="450" y="2504"/>
                    </a:cubicBezTo>
                    <a:cubicBezTo>
                      <a:pt x="445" y="2504"/>
                      <a:pt x="440" y="2504"/>
                      <a:pt x="434" y="2504"/>
                    </a:cubicBezTo>
                    <a:cubicBezTo>
                      <a:pt x="428" y="2473"/>
                      <a:pt x="419" y="2442"/>
                      <a:pt x="416" y="2411"/>
                    </a:cubicBezTo>
                    <a:cubicBezTo>
                      <a:pt x="402" y="2295"/>
                      <a:pt x="397" y="2178"/>
                      <a:pt x="411" y="2062"/>
                    </a:cubicBezTo>
                    <a:cubicBezTo>
                      <a:pt x="419" y="1997"/>
                      <a:pt x="433" y="1932"/>
                      <a:pt x="448" y="1868"/>
                    </a:cubicBezTo>
                    <a:cubicBezTo>
                      <a:pt x="502" y="1635"/>
                      <a:pt x="557" y="1402"/>
                      <a:pt x="612" y="1169"/>
                    </a:cubicBezTo>
                    <a:cubicBezTo>
                      <a:pt x="613" y="1162"/>
                      <a:pt x="612" y="1154"/>
                      <a:pt x="609" y="1147"/>
                    </a:cubicBezTo>
                    <a:cubicBezTo>
                      <a:pt x="568" y="1037"/>
                      <a:pt x="556" y="925"/>
                      <a:pt x="583" y="811"/>
                    </a:cubicBezTo>
                    <a:cubicBezTo>
                      <a:pt x="607" y="710"/>
                      <a:pt x="657" y="625"/>
                      <a:pt x="755" y="578"/>
                    </a:cubicBezTo>
                    <a:cubicBezTo>
                      <a:pt x="824" y="546"/>
                      <a:pt x="929" y="549"/>
                      <a:pt x="989" y="619"/>
                    </a:cubicBezTo>
                    <a:cubicBezTo>
                      <a:pt x="1029" y="667"/>
                      <a:pt x="1042" y="724"/>
                      <a:pt x="1039" y="785"/>
                    </a:cubicBezTo>
                    <a:cubicBezTo>
                      <a:pt x="1036" y="864"/>
                      <a:pt x="1013" y="939"/>
                      <a:pt x="992" y="1014"/>
                    </a:cubicBezTo>
                    <a:cubicBezTo>
                      <a:pt x="965" y="1104"/>
                      <a:pt x="935" y="1194"/>
                      <a:pt x="914" y="1286"/>
                    </a:cubicBezTo>
                    <a:cubicBezTo>
                      <a:pt x="880" y="1435"/>
                      <a:pt x="982" y="1558"/>
                      <a:pt x="1134" y="1561"/>
                    </a:cubicBezTo>
                    <a:cubicBezTo>
                      <a:pt x="1230" y="1562"/>
                      <a:pt x="1309" y="1524"/>
                      <a:pt x="1376" y="1458"/>
                    </a:cubicBezTo>
                    <a:cubicBezTo>
                      <a:pt x="1467" y="1368"/>
                      <a:pt x="1517" y="1255"/>
                      <a:pt x="1552" y="1134"/>
                    </a:cubicBezTo>
                    <a:cubicBezTo>
                      <a:pt x="1587" y="1009"/>
                      <a:pt x="1602" y="882"/>
                      <a:pt x="1594" y="754"/>
                    </a:cubicBezTo>
                    <a:cubicBezTo>
                      <a:pt x="1582" y="555"/>
                      <a:pt x="1491" y="404"/>
                      <a:pt x="1311" y="312"/>
                    </a:cubicBezTo>
                    <a:cubicBezTo>
                      <a:pt x="1211" y="261"/>
                      <a:pt x="1103" y="244"/>
                      <a:pt x="991" y="245"/>
                    </a:cubicBezTo>
                    <a:cubicBezTo>
                      <a:pt x="873" y="247"/>
                      <a:pt x="759" y="271"/>
                      <a:pt x="652" y="326"/>
                    </a:cubicBezTo>
                    <a:cubicBezTo>
                      <a:pt x="555" y="377"/>
                      <a:pt x="474" y="447"/>
                      <a:pt x="412" y="538"/>
                    </a:cubicBezTo>
                    <a:cubicBezTo>
                      <a:pt x="323" y="667"/>
                      <a:pt x="284" y="812"/>
                      <a:pt x="291" y="968"/>
                    </a:cubicBezTo>
                    <a:cubicBezTo>
                      <a:pt x="295" y="1065"/>
                      <a:pt x="327" y="1151"/>
                      <a:pt x="390" y="1224"/>
                    </a:cubicBezTo>
                    <a:cubicBezTo>
                      <a:pt x="409" y="1245"/>
                      <a:pt x="413" y="1269"/>
                      <a:pt x="406" y="1295"/>
                    </a:cubicBezTo>
                    <a:cubicBezTo>
                      <a:pt x="396" y="1333"/>
                      <a:pt x="387" y="1371"/>
                      <a:pt x="376" y="1409"/>
                    </a:cubicBezTo>
                    <a:cubicBezTo>
                      <a:pt x="364" y="1451"/>
                      <a:pt x="338" y="1462"/>
                      <a:pt x="298" y="1445"/>
                    </a:cubicBezTo>
                    <a:cubicBezTo>
                      <a:pt x="225" y="1413"/>
                      <a:pt x="166" y="1364"/>
                      <a:pt x="120" y="1299"/>
                    </a:cubicBezTo>
                    <a:cubicBezTo>
                      <a:pt x="48" y="1196"/>
                      <a:pt x="20" y="1079"/>
                      <a:pt x="12" y="957"/>
                    </a:cubicBezTo>
                    <a:cubicBezTo>
                      <a:pt x="0" y="782"/>
                      <a:pt x="44" y="621"/>
                      <a:pt x="132" y="472"/>
                    </a:cubicBezTo>
                    <a:cubicBezTo>
                      <a:pt x="197" y="362"/>
                      <a:pt x="282" y="272"/>
                      <a:pt x="384" y="197"/>
                    </a:cubicBezTo>
                    <a:cubicBezTo>
                      <a:pt x="528" y="92"/>
                      <a:pt x="690" y="34"/>
                      <a:pt x="866" y="12"/>
                    </a:cubicBezTo>
                    <a:cubicBezTo>
                      <a:pt x="897" y="8"/>
                      <a:pt x="928" y="4"/>
                      <a:pt x="958" y="0"/>
                    </a:cubicBezTo>
                    <a:cubicBezTo>
                      <a:pt x="1002" y="0"/>
                      <a:pt x="1046" y="0"/>
                      <a:pt x="1090"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60" name="Freeform 9">
                <a:hlinkClick r:id="rId4"/>
                <a:extLst>
                  <a:ext uri="{FF2B5EF4-FFF2-40B4-BE49-F238E27FC236}">
                    <a16:creationId xmlns:a16="http://schemas.microsoft.com/office/drawing/2014/main" id="{660B911E-C949-4343-9EF5-3723A946623A}"/>
                  </a:ext>
                </a:extLst>
              </p:cNvPr>
              <p:cNvSpPr>
                <a:spLocks noEditPoints="1"/>
              </p:cNvSpPr>
              <p:nvPr/>
            </p:nvSpPr>
            <p:spPr bwMode="auto">
              <a:xfrm>
                <a:off x="1044506" y="9627882"/>
                <a:ext cx="151433" cy="144136"/>
              </a:xfrm>
              <a:custGeom>
                <a:avLst/>
                <a:gdLst>
                  <a:gd name="T0" fmla="*/ 1720 w 1720"/>
                  <a:gd name="T1" fmla="*/ 1008 h 1644"/>
                  <a:gd name="T2" fmla="*/ 1720 w 1720"/>
                  <a:gd name="T3" fmla="*/ 1644 h 1644"/>
                  <a:gd name="T4" fmla="*/ 1352 w 1720"/>
                  <a:gd name="T5" fmla="*/ 1644 h 1644"/>
                  <a:gd name="T6" fmla="*/ 1352 w 1720"/>
                  <a:gd name="T7" fmla="*/ 1050 h 1644"/>
                  <a:gd name="T8" fmla="*/ 1165 w 1720"/>
                  <a:gd name="T9" fmla="*/ 799 h 1644"/>
                  <a:gd name="T10" fmla="*/ 976 w 1720"/>
                  <a:gd name="T11" fmla="*/ 934 h 1644"/>
                  <a:gd name="T12" fmla="*/ 963 w 1720"/>
                  <a:gd name="T13" fmla="*/ 1024 h 1644"/>
                  <a:gd name="T14" fmla="*/ 963 w 1720"/>
                  <a:gd name="T15" fmla="*/ 1644 h 1644"/>
                  <a:gd name="T16" fmla="*/ 595 w 1720"/>
                  <a:gd name="T17" fmla="*/ 1644 h 1644"/>
                  <a:gd name="T18" fmla="*/ 595 w 1720"/>
                  <a:gd name="T19" fmla="*/ 534 h 1644"/>
                  <a:gd name="T20" fmla="*/ 963 w 1720"/>
                  <a:gd name="T21" fmla="*/ 534 h 1644"/>
                  <a:gd name="T22" fmla="*/ 963 w 1720"/>
                  <a:gd name="T23" fmla="*/ 692 h 1644"/>
                  <a:gd name="T24" fmla="*/ 961 w 1720"/>
                  <a:gd name="T25" fmla="*/ 695 h 1644"/>
                  <a:gd name="T26" fmla="*/ 963 w 1720"/>
                  <a:gd name="T27" fmla="*/ 695 h 1644"/>
                  <a:gd name="T28" fmla="*/ 963 w 1720"/>
                  <a:gd name="T29" fmla="*/ 692 h 1644"/>
                  <a:gd name="T30" fmla="*/ 1296 w 1720"/>
                  <a:gd name="T31" fmla="*/ 508 h 1644"/>
                  <a:gd name="T32" fmla="*/ 1720 w 1720"/>
                  <a:gd name="T33" fmla="*/ 1008 h 1644"/>
                  <a:gd name="T34" fmla="*/ 209 w 1720"/>
                  <a:gd name="T35" fmla="*/ 0 h 1644"/>
                  <a:gd name="T36" fmla="*/ 0 w 1720"/>
                  <a:gd name="T37" fmla="*/ 191 h 1644"/>
                  <a:gd name="T38" fmla="*/ 204 w 1720"/>
                  <a:gd name="T39" fmla="*/ 383 h 1644"/>
                  <a:gd name="T40" fmla="*/ 206 w 1720"/>
                  <a:gd name="T41" fmla="*/ 383 h 1644"/>
                  <a:gd name="T42" fmla="*/ 415 w 1720"/>
                  <a:gd name="T43" fmla="*/ 191 h 1644"/>
                  <a:gd name="T44" fmla="*/ 209 w 1720"/>
                  <a:gd name="T45" fmla="*/ 0 h 1644"/>
                  <a:gd name="T46" fmla="*/ 22 w 1720"/>
                  <a:gd name="T47" fmla="*/ 1644 h 1644"/>
                  <a:gd name="T48" fmla="*/ 391 w 1720"/>
                  <a:gd name="T49" fmla="*/ 1644 h 1644"/>
                  <a:gd name="T50" fmla="*/ 391 w 1720"/>
                  <a:gd name="T51" fmla="*/ 534 h 1644"/>
                  <a:gd name="T52" fmla="*/ 22 w 1720"/>
                  <a:gd name="T53" fmla="*/ 534 h 1644"/>
                  <a:gd name="T54" fmla="*/ 22 w 1720"/>
                  <a:gd name="T55" fmla="*/ 164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0" h="1644">
                    <a:moveTo>
                      <a:pt x="1720" y="1008"/>
                    </a:moveTo>
                    <a:cubicBezTo>
                      <a:pt x="1720" y="1644"/>
                      <a:pt x="1720" y="1644"/>
                      <a:pt x="1720" y="1644"/>
                    </a:cubicBezTo>
                    <a:cubicBezTo>
                      <a:pt x="1352" y="1644"/>
                      <a:pt x="1352" y="1644"/>
                      <a:pt x="1352" y="1644"/>
                    </a:cubicBezTo>
                    <a:cubicBezTo>
                      <a:pt x="1352" y="1050"/>
                      <a:pt x="1352" y="1050"/>
                      <a:pt x="1352" y="1050"/>
                    </a:cubicBezTo>
                    <a:cubicBezTo>
                      <a:pt x="1352" y="901"/>
                      <a:pt x="1298" y="799"/>
                      <a:pt x="1165" y="799"/>
                    </a:cubicBezTo>
                    <a:cubicBezTo>
                      <a:pt x="1063" y="799"/>
                      <a:pt x="1002" y="868"/>
                      <a:pt x="976" y="934"/>
                    </a:cubicBezTo>
                    <a:cubicBezTo>
                      <a:pt x="966" y="958"/>
                      <a:pt x="963" y="991"/>
                      <a:pt x="963" y="1024"/>
                    </a:cubicBezTo>
                    <a:cubicBezTo>
                      <a:pt x="963" y="1644"/>
                      <a:pt x="963" y="1644"/>
                      <a:pt x="963" y="1644"/>
                    </a:cubicBezTo>
                    <a:cubicBezTo>
                      <a:pt x="595" y="1644"/>
                      <a:pt x="595" y="1644"/>
                      <a:pt x="595" y="1644"/>
                    </a:cubicBezTo>
                    <a:cubicBezTo>
                      <a:pt x="595" y="1644"/>
                      <a:pt x="600" y="639"/>
                      <a:pt x="595" y="534"/>
                    </a:cubicBezTo>
                    <a:cubicBezTo>
                      <a:pt x="963" y="534"/>
                      <a:pt x="963" y="534"/>
                      <a:pt x="963" y="534"/>
                    </a:cubicBezTo>
                    <a:cubicBezTo>
                      <a:pt x="963" y="692"/>
                      <a:pt x="963" y="692"/>
                      <a:pt x="963" y="692"/>
                    </a:cubicBezTo>
                    <a:cubicBezTo>
                      <a:pt x="963" y="693"/>
                      <a:pt x="962" y="694"/>
                      <a:pt x="961" y="695"/>
                    </a:cubicBezTo>
                    <a:cubicBezTo>
                      <a:pt x="963" y="695"/>
                      <a:pt x="963" y="695"/>
                      <a:pt x="963" y="695"/>
                    </a:cubicBezTo>
                    <a:cubicBezTo>
                      <a:pt x="963" y="692"/>
                      <a:pt x="963" y="692"/>
                      <a:pt x="963" y="692"/>
                    </a:cubicBezTo>
                    <a:cubicBezTo>
                      <a:pt x="1012" y="616"/>
                      <a:pt x="1100" y="508"/>
                      <a:pt x="1296" y="508"/>
                    </a:cubicBezTo>
                    <a:cubicBezTo>
                      <a:pt x="1539" y="508"/>
                      <a:pt x="1720" y="667"/>
                      <a:pt x="1720" y="1008"/>
                    </a:cubicBezTo>
                    <a:close/>
                    <a:moveTo>
                      <a:pt x="209" y="0"/>
                    </a:moveTo>
                    <a:cubicBezTo>
                      <a:pt x="83" y="0"/>
                      <a:pt x="0" y="83"/>
                      <a:pt x="0" y="191"/>
                    </a:cubicBezTo>
                    <a:cubicBezTo>
                      <a:pt x="0" y="298"/>
                      <a:pt x="80" y="383"/>
                      <a:pt x="204" y="383"/>
                    </a:cubicBezTo>
                    <a:cubicBezTo>
                      <a:pt x="206" y="383"/>
                      <a:pt x="206" y="383"/>
                      <a:pt x="206" y="383"/>
                    </a:cubicBezTo>
                    <a:cubicBezTo>
                      <a:pt x="335" y="383"/>
                      <a:pt x="415" y="298"/>
                      <a:pt x="415" y="191"/>
                    </a:cubicBezTo>
                    <a:cubicBezTo>
                      <a:pt x="413" y="83"/>
                      <a:pt x="335" y="0"/>
                      <a:pt x="209" y="0"/>
                    </a:cubicBezTo>
                    <a:close/>
                    <a:moveTo>
                      <a:pt x="22" y="1644"/>
                    </a:moveTo>
                    <a:cubicBezTo>
                      <a:pt x="391" y="1644"/>
                      <a:pt x="391" y="1644"/>
                      <a:pt x="391" y="1644"/>
                    </a:cubicBezTo>
                    <a:cubicBezTo>
                      <a:pt x="391" y="534"/>
                      <a:pt x="391" y="534"/>
                      <a:pt x="391" y="534"/>
                    </a:cubicBezTo>
                    <a:cubicBezTo>
                      <a:pt x="22" y="534"/>
                      <a:pt x="22" y="534"/>
                      <a:pt x="22" y="534"/>
                    </a:cubicBezTo>
                    <a:lnTo>
                      <a:pt x="22" y="1644"/>
                    </a:ln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61" name="Freeform 13">
                <a:hlinkClick r:id="rId6"/>
                <a:extLst>
                  <a:ext uri="{FF2B5EF4-FFF2-40B4-BE49-F238E27FC236}">
                    <a16:creationId xmlns:a16="http://schemas.microsoft.com/office/drawing/2014/main" id="{19FDBE37-1490-459F-8F37-375187928D97}"/>
                  </a:ext>
                </a:extLst>
              </p:cNvPr>
              <p:cNvSpPr>
                <a:spLocks/>
              </p:cNvSpPr>
              <p:nvPr/>
            </p:nvSpPr>
            <p:spPr bwMode="auto">
              <a:xfrm>
                <a:off x="800503" y="9641054"/>
                <a:ext cx="145734" cy="117779"/>
              </a:xfrm>
              <a:custGeom>
                <a:avLst/>
                <a:gdLst>
                  <a:gd name="T0" fmla="*/ 2448 w 2448"/>
                  <a:gd name="T1" fmla="*/ 235 h 1988"/>
                  <a:gd name="T2" fmla="*/ 2160 w 2448"/>
                  <a:gd name="T3" fmla="*/ 314 h 1988"/>
                  <a:gd name="T4" fmla="*/ 2380 w 2448"/>
                  <a:gd name="T5" fmla="*/ 36 h 1988"/>
                  <a:gd name="T6" fmla="*/ 2061 w 2448"/>
                  <a:gd name="T7" fmla="*/ 158 h 1988"/>
                  <a:gd name="T8" fmla="*/ 1695 w 2448"/>
                  <a:gd name="T9" fmla="*/ 0 h 1988"/>
                  <a:gd name="T10" fmla="*/ 1193 w 2448"/>
                  <a:gd name="T11" fmla="*/ 502 h 1988"/>
                  <a:gd name="T12" fmla="*/ 1206 w 2448"/>
                  <a:gd name="T13" fmla="*/ 616 h 1988"/>
                  <a:gd name="T14" fmla="*/ 171 w 2448"/>
                  <a:gd name="T15" fmla="*/ 92 h 1988"/>
                  <a:gd name="T16" fmla="*/ 103 w 2448"/>
                  <a:gd name="T17" fmla="*/ 344 h 1988"/>
                  <a:gd name="T18" fmla="*/ 326 w 2448"/>
                  <a:gd name="T19" fmla="*/ 762 h 1988"/>
                  <a:gd name="T20" fmla="*/ 99 w 2448"/>
                  <a:gd name="T21" fmla="*/ 699 h 1988"/>
                  <a:gd name="T22" fmla="*/ 99 w 2448"/>
                  <a:gd name="T23" fmla="*/ 705 h 1988"/>
                  <a:gd name="T24" fmla="*/ 501 w 2448"/>
                  <a:gd name="T25" fmla="*/ 1198 h 1988"/>
                  <a:gd name="T26" fmla="*/ 369 w 2448"/>
                  <a:gd name="T27" fmla="*/ 1215 h 1988"/>
                  <a:gd name="T28" fmla="*/ 274 w 2448"/>
                  <a:gd name="T29" fmla="*/ 1206 h 1988"/>
                  <a:gd name="T30" fmla="*/ 743 w 2448"/>
                  <a:gd name="T31" fmla="*/ 1555 h 1988"/>
                  <a:gd name="T32" fmla="*/ 120 w 2448"/>
                  <a:gd name="T33" fmla="*/ 1769 h 1988"/>
                  <a:gd name="T34" fmla="*/ 0 w 2448"/>
                  <a:gd name="T35" fmla="*/ 1762 h 1988"/>
                  <a:gd name="T36" fmla="*/ 770 w 2448"/>
                  <a:gd name="T37" fmla="*/ 1988 h 1988"/>
                  <a:gd name="T38" fmla="*/ 2199 w 2448"/>
                  <a:gd name="T39" fmla="*/ 559 h 1988"/>
                  <a:gd name="T40" fmla="*/ 2197 w 2448"/>
                  <a:gd name="T41" fmla="*/ 494 h 1988"/>
                  <a:gd name="T42" fmla="*/ 2448 w 2448"/>
                  <a:gd name="T43" fmla="*/ 235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8" h="1988">
                    <a:moveTo>
                      <a:pt x="2448" y="235"/>
                    </a:moveTo>
                    <a:cubicBezTo>
                      <a:pt x="2358" y="275"/>
                      <a:pt x="2261" y="302"/>
                      <a:pt x="2160" y="314"/>
                    </a:cubicBezTo>
                    <a:cubicBezTo>
                      <a:pt x="2263" y="252"/>
                      <a:pt x="2343" y="153"/>
                      <a:pt x="2380" y="36"/>
                    </a:cubicBezTo>
                    <a:cubicBezTo>
                      <a:pt x="2283" y="94"/>
                      <a:pt x="2176" y="136"/>
                      <a:pt x="2061" y="158"/>
                    </a:cubicBezTo>
                    <a:cubicBezTo>
                      <a:pt x="1970" y="61"/>
                      <a:pt x="1839" y="0"/>
                      <a:pt x="1695" y="0"/>
                    </a:cubicBezTo>
                    <a:cubicBezTo>
                      <a:pt x="1417" y="0"/>
                      <a:pt x="1193" y="225"/>
                      <a:pt x="1193" y="502"/>
                    </a:cubicBezTo>
                    <a:cubicBezTo>
                      <a:pt x="1193" y="541"/>
                      <a:pt x="1197" y="580"/>
                      <a:pt x="1206" y="616"/>
                    </a:cubicBezTo>
                    <a:cubicBezTo>
                      <a:pt x="788" y="595"/>
                      <a:pt x="418" y="395"/>
                      <a:pt x="171" y="92"/>
                    </a:cubicBezTo>
                    <a:cubicBezTo>
                      <a:pt x="127" y="166"/>
                      <a:pt x="103" y="252"/>
                      <a:pt x="103" y="344"/>
                    </a:cubicBezTo>
                    <a:cubicBezTo>
                      <a:pt x="103" y="518"/>
                      <a:pt x="191" y="672"/>
                      <a:pt x="326" y="762"/>
                    </a:cubicBezTo>
                    <a:cubicBezTo>
                      <a:pt x="244" y="759"/>
                      <a:pt x="166" y="736"/>
                      <a:pt x="99" y="699"/>
                    </a:cubicBezTo>
                    <a:cubicBezTo>
                      <a:pt x="99" y="705"/>
                      <a:pt x="99" y="705"/>
                      <a:pt x="99" y="705"/>
                    </a:cubicBezTo>
                    <a:cubicBezTo>
                      <a:pt x="99" y="948"/>
                      <a:pt x="272" y="1151"/>
                      <a:pt x="501" y="1198"/>
                    </a:cubicBezTo>
                    <a:cubicBezTo>
                      <a:pt x="459" y="1209"/>
                      <a:pt x="415" y="1215"/>
                      <a:pt x="369" y="1215"/>
                    </a:cubicBezTo>
                    <a:cubicBezTo>
                      <a:pt x="337" y="1215"/>
                      <a:pt x="305" y="1212"/>
                      <a:pt x="274" y="1206"/>
                    </a:cubicBezTo>
                    <a:cubicBezTo>
                      <a:pt x="338" y="1405"/>
                      <a:pt x="524" y="1551"/>
                      <a:pt x="743" y="1555"/>
                    </a:cubicBezTo>
                    <a:cubicBezTo>
                      <a:pt x="572" y="1689"/>
                      <a:pt x="355" y="1769"/>
                      <a:pt x="120" y="1769"/>
                    </a:cubicBezTo>
                    <a:cubicBezTo>
                      <a:pt x="79" y="1769"/>
                      <a:pt x="39" y="1767"/>
                      <a:pt x="0" y="1762"/>
                    </a:cubicBezTo>
                    <a:cubicBezTo>
                      <a:pt x="222" y="1905"/>
                      <a:pt x="486" y="1988"/>
                      <a:pt x="770" y="1988"/>
                    </a:cubicBezTo>
                    <a:cubicBezTo>
                      <a:pt x="1694" y="1988"/>
                      <a:pt x="2199" y="1223"/>
                      <a:pt x="2199" y="559"/>
                    </a:cubicBezTo>
                    <a:cubicBezTo>
                      <a:pt x="2197" y="494"/>
                      <a:pt x="2197" y="494"/>
                      <a:pt x="2197" y="494"/>
                    </a:cubicBezTo>
                    <a:cubicBezTo>
                      <a:pt x="2295" y="424"/>
                      <a:pt x="2381" y="336"/>
                      <a:pt x="2448" y="235"/>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grpSp>
        <p:sp>
          <p:nvSpPr>
            <p:cNvPr id="30" name="Rectangle: Rounded Corners 29">
              <a:hlinkClick r:id="rId2"/>
              <a:extLst>
                <a:ext uri="{FF2B5EF4-FFF2-40B4-BE49-F238E27FC236}">
                  <a16:creationId xmlns:a16="http://schemas.microsoft.com/office/drawing/2014/main" id="{6A0B8676-F0CB-4353-9FB8-5477360CCBC1}"/>
                </a:ext>
              </a:extLst>
            </p:cNvPr>
            <p:cNvSpPr/>
            <p:nvPr/>
          </p:nvSpPr>
          <p:spPr>
            <a:xfrm>
              <a:off x="1002776" y="6219736"/>
              <a:ext cx="344577" cy="344577"/>
            </a:xfrm>
            <a:prstGeom prst="roundRect">
              <a:avLst>
                <a:gd name="adj" fmla="val 8925"/>
              </a:avLst>
            </a:prstGeom>
            <a:solidFill>
              <a:srgbClr val="1DA1F2"/>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Rounded Corners 27">
              <a:hlinkClick r:id="rId3"/>
              <a:extLst>
                <a:ext uri="{FF2B5EF4-FFF2-40B4-BE49-F238E27FC236}">
                  <a16:creationId xmlns:a16="http://schemas.microsoft.com/office/drawing/2014/main" id="{FFEDAFC2-A76E-42FE-BD91-E5B7047559A7}"/>
                </a:ext>
              </a:extLst>
            </p:cNvPr>
            <p:cNvSpPr/>
            <p:nvPr/>
          </p:nvSpPr>
          <p:spPr>
            <a:xfrm>
              <a:off x="584202" y="6219736"/>
              <a:ext cx="344577" cy="344577"/>
            </a:xfrm>
            <a:prstGeom prst="roundRect">
              <a:avLst>
                <a:gd name="adj" fmla="val 8925"/>
              </a:avLst>
            </a:prstGeom>
            <a:solidFill>
              <a:srgbClr val="3A569C"/>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Shape 28">
              <a:hlinkClick r:id="rId3"/>
              <a:extLst>
                <a:ext uri="{FF2B5EF4-FFF2-40B4-BE49-F238E27FC236}">
                  <a16:creationId xmlns:a16="http://schemas.microsoft.com/office/drawing/2014/main" id="{ABB7C1D5-6478-40B1-A486-09B81B107D37}"/>
                </a:ext>
              </a:extLst>
            </p:cNvPr>
            <p:cNvSpPr/>
            <p:nvPr/>
          </p:nvSpPr>
          <p:spPr>
            <a:xfrm>
              <a:off x="689035" y="6264374"/>
              <a:ext cx="134912" cy="255300"/>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Rounded Corners 25">
              <a:hlinkClick r:id="rId4"/>
              <a:extLst>
                <a:ext uri="{FF2B5EF4-FFF2-40B4-BE49-F238E27FC236}">
                  <a16:creationId xmlns:a16="http://schemas.microsoft.com/office/drawing/2014/main" id="{C6922D84-AB27-44A9-B331-FE64F15BC7B1}"/>
                </a:ext>
              </a:extLst>
            </p:cNvPr>
            <p:cNvSpPr/>
            <p:nvPr/>
          </p:nvSpPr>
          <p:spPr>
            <a:xfrm>
              <a:off x="1421357" y="6219736"/>
              <a:ext cx="344577" cy="344577"/>
            </a:xfrm>
            <a:prstGeom prst="roundRect">
              <a:avLst>
                <a:gd name="adj" fmla="val 10332"/>
              </a:avLst>
            </a:prstGeom>
            <a:solidFill>
              <a:srgbClr val="0097D3"/>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Rounded Corners 23">
              <a:hlinkClick r:id="rId5"/>
              <a:extLst>
                <a:ext uri="{FF2B5EF4-FFF2-40B4-BE49-F238E27FC236}">
                  <a16:creationId xmlns:a16="http://schemas.microsoft.com/office/drawing/2014/main" id="{66C83F88-19BD-4BF3-AF68-F2C85C8C34A6}"/>
                </a:ext>
              </a:extLst>
            </p:cNvPr>
            <p:cNvSpPr/>
            <p:nvPr/>
          </p:nvSpPr>
          <p:spPr>
            <a:xfrm>
              <a:off x="1839932" y="6219736"/>
              <a:ext cx="344577" cy="344577"/>
            </a:xfrm>
            <a:prstGeom prst="roundRect">
              <a:avLst>
                <a:gd name="adj" fmla="val 8221"/>
              </a:avLst>
            </a:prstGeom>
            <a:solidFill>
              <a:srgbClr val="CB2026"/>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5">
              <a:hlinkClick r:id="rId5"/>
              <a:extLst>
                <a:ext uri="{FF2B5EF4-FFF2-40B4-BE49-F238E27FC236}">
                  <a16:creationId xmlns:a16="http://schemas.microsoft.com/office/drawing/2014/main" id="{9F9EB90F-17F5-48B5-92E5-6E9B806D8163}"/>
                </a:ext>
              </a:extLst>
            </p:cNvPr>
            <p:cNvSpPr>
              <a:spLocks/>
            </p:cNvSpPr>
            <p:nvPr/>
          </p:nvSpPr>
          <p:spPr bwMode="auto">
            <a:xfrm>
              <a:off x="1907990" y="6259594"/>
              <a:ext cx="207518" cy="264828"/>
            </a:xfrm>
            <a:custGeom>
              <a:avLst/>
              <a:gdLst>
                <a:gd name="T0" fmla="*/ 1090 w 1952"/>
                <a:gd name="T1" fmla="*/ 0 h 2504"/>
                <a:gd name="T2" fmla="*/ 1209 w 1952"/>
                <a:gd name="T3" fmla="*/ 15 h 2504"/>
                <a:gd name="T4" fmla="*/ 1524 w 1952"/>
                <a:gd name="T5" fmla="*/ 124 h 2504"/>
                <a:gd name="T6" fmla="*/ 1760 w 1952"/>
                <a:gd name="T7" fmla="*/ 319 h 2504"/>
                <a:gd name="T8" fmla="*/ 1947 w 1952"/>
                <a:gd name="T9" fmla="*/ 856 h 2504"/>
                <a:gd name="T10" fmla="*/ 1859 w 1952"/>
                <a:gd name="T11" fmla="*/ 1304 h 2504"/>
                <a:gd name="T12" fmla="*/ 1580 w 1952"/>
                <a:gd name="T13" fmla="*/ 1676 h 2504"/>
                <a:gd name="T14" fmla="*/ 1122 w 1952"/>
                <a:gd name="T15" fmla="*/ 1805 h 2504"/>
                <a:gd name="T16" fmla="*/ 853 w 1952"/>
                <a:gd name="T17" fmla="*/ 1675 h 2504"/>
                <a:gd name="T18" fmla="*/ 820 w 1952"/>
                <a:gd name="T19" fmla="*/ 1632 h 2504"/>
                <a:gd name="T20" fmla="*/ 803 w 1952"/>
                <a:gd name="T21" fmla="*/ 1700 h 2504"/>
                <a:gd name="T22" fmla="*/ 694 w 1952"/>
                <a:gd name="T23" fmla="*/ 2094 h 2504"/>
                <a:gd name="T24" fmla="*/ 601 w 1952"/>
                <a:gd name="T25" fmla="*/ 2288 h 2504"/>
                <a:gd name="T26" fmla="*/ 473 w 1952"/>
                <a:gd name="T27" fmla="*/ 2479 h 2504"/>
                <a:gd name="T28" fmla="*/ 450 w 1952"/>
                <a:gd name="T29" fmla="*/ 2504 h 2504"/>
                <a:gd name="T30" fmla="*/ 434 w 1952"/>
                <a:gd name="T31" fmla="*/ 2504 h 2504"/>
                <a:gd name="T32" fmla="*/ 416 w 1952"/>
                <a:gd name="T33" fmla="*/ 2411 h 2504"/>
                <a:gd name="T34" fmla="*/ 411 w 1952"/>
                <a:gd name="T35" fmla="*/ 2062 h 2504"/>
                <a:gd name="T36" fmla="*/ 448 w 1952"/>
                <a:gd name="T37" fmla="*/ 1868 h 2504"/>
                <a:gd name="T38" fmla="*/ 612 w 1952"/>
                <a:gd name="T39" fmla="*/ 1169 h 2504"/>
                <a:gd name="T40" fmla="*/ 609 w 1952"/>
                <a:gd name="T41" fmla="*/ 1147 h 2504"/>
                <a:gd name="T42" fmla="*/ 583 w 1952"/>
                <a:gd name="T43" fmla="*/ 811 h 2504"/>
                <a:gd name="T44" fmla="*/ 755 w 1952"/>
                <a:gd name="T45" fmla="*/ 578 h 2504"/>
                <a:gd name="T46" fmla="*/ 989 w 1952"/>
                <a:gd name="T47" fmla="*/ 619 h 2504"/>
                <a:gd name="T48" fmla="*/ 1039 w 1952"/>
                <a:gd name="T49" fmla="*/ 785 h 2504"/>
                <a:gd name="T50" fmla="*/ 992 w 1952"/>
                <a:gd name="T51" fmla="*/ 1014 h 2504"/>
                <a:gd name="T52" fmla="*/ 914 w 1952"/>
                <a:gd name="T53" fmla="*/ 1286 h 2504"/>
                <a:gd name="T54" fmla="*/ 1134 w 1952"/>
                <a:gd name="T55" fmla="*/ 1561 h 2504"/>
                <a:gd name="T56" fmla="*/ 1376 w 1952"/>
                <a:gd name="T57" fmla="*/ 1458 h 2504"/>
                <a:gd name="T58" fmla="*/ 1552 w 1952"/>
                <a:gd name="T59" fmla="*/ 1134 h 2504"/>
                <a:gd name="T60" fmla="*/ 1594 w 1952"/>
                <a:gd name="T61" fmla="*/ 754 h 2504"/>
                <a:gd name="T62" fmla="*/ 1311 w 1952"/>
                <a:gd name="T63" fmla="*/ 312 h 2504"/>
                <a:gd name="T64" fmla="*/ 991 w 1952"/>
                <a:gd name="T65" fmla="*/ 245 h 2504"/>
                <a:gd name="T66" fmla="*/ 652 w 1952"/>
                <a:gd name="T67" fmla="*/ 326 h 2504"/>
                <a:gd name="T68" fmla="*/ 412 w 1952"/>
                <a:gd name="T69" fmla="*/ 538 h 2504"/>
                <a:gd name="T70" fmla="*/ 291 w 1952"/>
                <a:gd name="T71" fmla="*/ 968 h 2504"/>
                <a:gd name="T72" fmla="*/ 390 w 1952"/>
                <a:gd name="T73" fmla="*/ 1224 h 2504"/>
                <a:gd name="T74" fmla="*/ 406 w 1952"/>
                <a:gd name="T75" fmla="*/ 1295 h 2504"/>
                <a:gd name="T76" fmla="*/ 376 w 1952"/>
                <a:gd name="T77" fmla="*/ 1409 h 2504"/>
                <a:gd name="T78" fmla="*/ 298 w 1952"/>
                <a:gd name="T79" fmla="*/ 1445 h 2504"/>
                <a:gd name="T80" fmla="*/ 120 w 1952"/>
                <a:gd name="T81" fmla="*/ 1299 h 2504"/>
                <a:gd name="T82" fmla="*/ 12 w 1952"/>
                <a:gd name="T83" fmla="*/ 957 h 2504"/>
                <a:gd name="T84" fmla="*/ 132 w 1952"/>
                <a:gd name="T85" fmla="*/ 472 h 2504"/>
                <a:gd name="T86" fmla="*/ 384 w 1952"/>
                <a:gd name="T87" fmla="*/ 197 h 2504"/>
                <a:gd name="T88" fmla="*/ 866 w 1952"/>
                <a:gd name="T89" fmla="*/ 12 h 2504"/>
                <a:gd name="T90" fmla="*/ 958 w 1952"/>
                <a:gd name="T91" fmla="*/ 0 h 2504"/>
                <a:gd name="T92" fmla="*/ 1090 w 1952"/>
                <a:gd name="T93" fmla="*/ 0 h 2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2" h="2504">
                  <a:moveTo>
                    <a:pt x="1090" y="0"/>
                  </a:moveTo>
                  <a:cubicBezTo>
                    <a:pt x="1130" y="5"/>
                    <a:pt x="1170" y="9"/>
                    <a:pt x="1209" y="15"/>
                  </a:cubicBezTo>
                  <a:cubicBezTo>
                    <a:pt x="1321" y="32"/>
                    <a:pt x="1426" y="68"/>
                    <a:pt x="1524" y="124"/>
                  </a:cubicBezTo>
                  <a:cubicBezTo>
                    <a:pt x="1615" y="175"/>
                    <a:pt x="1694" y="239"/>
                    <a:pt x="1760" y="319"/>
                  </a:cubicBezTo>
                  <a:cubicBezTo>
                    <a:pt x="1888" y="475"/>
                    <a:pt x="1952" y="653"/>
                    <a:pt x="1947" y="856"/>
                  </a:cubicBezTo>
                  <a:cubicBezTo>
                    <a:pt x="1943" y="1010"/>
                    <a:pt x="1918" y="1161"/>
                    <a:pt x="1859" y="1304"/>
                  </a:cubicBezTo>
                  <a:cubicBezTo>
                    <a:pt x="1799" y="1453"/>
                    <a:pt x="1712" y="1581"/>
                    <a:pt x="1580" y="1676"/>
                  </a:cubicBezTo>
                  <a:cubicBezTo>
                    <a:pt x="1443" y="1776"/>
                    <a:pt x="1290" y="1821"/>
                    <a:pt x="1122" y="1805"/>
                  </a:cubicBezTo>
                  <a:cubicBezTo>
                    <a:pt x="1017" y="1795"/>
                    <a:pt x="925" y="1753"/>
                    <a:pt x="853" y="1675"/>
                  </a:cubicBezTo>
                  <a:cubicBezTo>
                    <a:pt x="842" y="1663"/>
                    <a:pt x="833" y="1650"/>
                    <a:pt x="820" y="1632"/>
                  </a:cubicBezTo>
                  <a:cubicBezTo>
                    <a:pt x="813" y="1657"/>
                    <a:pt x="808" y="1679"/>
                    <a:pt x="803" y="1700"/>
                  </a:cubicBezTo>
                  <a:cubicBezTo>
                    <a:pt x="767" y="1831"/>
                    <a:pt x="736" y="1965"/>
                    <a:pt x="694" y="2094"/>
                  </a:cubicBezTo>
                  <a:cubicBezTo>
                    <a:pt x="672" y="2162"/>
                    <a:pt x="637" y="2226"/>
                    <a:pt x="601" y="2288"/>
                  </a:cubicBezTo>
                  <a:cubicBezTo>
                    <a:pt x="562" y="2354"/>
                    <a:pt x="516" y="2416"/>
                    <a:pt x="473" y="2479"/>
                  </a:cubicBezTo>
                  <a:cubicBezTo>
                    <a:pt x="467" y="2488"/>
                    <a:pt x="458" y="2496"/>
                    <a:pt x="450" y="2504"/>
                  </a:cubicBezTo>
                  <a:cubicBezTo>
                    <a:pt x="445" y="2504"/>
                    <a:pt x="440" y="2504"/>
                    <a:pt x="434" y="2504"/>
                  </a:cubicBezTo>
                  <a:cubicBezTo>
                    <a:pt x="428" y="2473"/>
                    <a:pt x="419" y="2442"/>
                    <a:pt x="416" y="2411"/>
                  </a:cubicBezTo>
                  <a:cubicBezTo>
                    <a:pt x="402" y="2295"/>
                    <a:pt x="397" y="2178"/>
                    <a:pt x="411" y="2062"/>
                  </a:cubicBezTo>
                  <a:cubicBezTo>
                    <a:pt x="419" y="1997"/>
                    <a:pt x="433" y="1932"/>
                    <a:pt x="448" y="1868"/>
                  </a:cubicBezTo>
                  <a:cubicBezTo>
                    <a:pt x="502" y="1635"/>
                    <a:pt x="557" y="1402"/>
                    <a:pt x="612" y="1169"/>
                  </a:cubicBezTo>
                  <a:cubicBezTo>
                    <a:pt x="613" y="1162"/>
                    <a:pt x="612" y="1154"/>
                    <a:pt x="609" y="1147"/>
                  </a:cubicBezTo>
                  <a:cubicBezTo>
                    <a:pt x="568" y="1037"/>
                    <a:pt x="556" y="925"/>
                    <a:pt x="583" y="811"/>
                  </a:cubicBezTo>
                  <a:cubicBezTo>
                    <a:pt x="607" y="710"/>
                    <a:pt x="657" y="625"/>
                    <a:pt x="755" y="578"/>
                  </a:cubicBezTo>
                  <a:cubicBezTo>
                    <a:pt x="824" y="546"/>
                    <a:pt x="929" y="549"/>
                    <a:pt x="989" y="619"/>
                  </a:cubicBezTo>
                  <a:cubicBezTo>
                    <a:pt x="1029" y="667"/>
                    <a:pt x="1042" y="724"/>
                    <a:pt x="1039" y="785"/>
                  </a:cubicBezTo>
                  <a:cubicBezTo>
                    <a:pt x="1036" y="864"/>
                    <a:pt x="1013" y="939"/>
                    <a:pt x="992" y="1014"/>
                  </a:cubicBezTo>
                  <a:cubicBezTo>
                    <a:pt x="965" y="1104"/>
                    <a:pt x="935" y="1194"/>
                    <a:pt x="914" y="1286"/>
                  </a:cubicBezTo>
                  <a:cubicBezTo>
                    <a:pt x="880" y="1435"/>
                    <a:pt x="982" y="1558"/>
                    <a:pt x="1134" y="1561"/>
                  </a:cubicBezTo>
                  <a:cubicBezTo>
                    <a:pt x="1230" y="1562"/>
                    <a:pt x="1309" y="1524"/>
                    <a:pt x="1376" y="1458"/>
                  </a:cubicBezTo>
                  <a:cubicBezTo>
                    <a:pt x="1467" y="1368"/>
                    <a:pt x="1517" y="1255"/>
                    <a:pt x="1552" y="1134"/>
                  </a:cubicBezTo>
                  <a:cubicBezTo>
                    <a:pt x="1587" y="1009"/>
                    <a:pt x="1602" y="882"/>
                    <a:pt x="1594" y="754"/>
                  </a:cubicBezTo>
                  <a:cubicBezTo>
                    <a:pt x="1582" y="555"/>
                    <a:pt x="1491" y="404"/>
                    <a:pt x="1311" y="312"/>
                  </a:cubicBezTo>
                  <a:cubicBezTo>
                    <a:pt x="1211" y="261"/>
                    <a:pt x="1103" y="244"/>
                    <a:pt x="991" y="245"/>
                  </a:cubicBezTo>
                  <a:cubicBezTo>
                    <a:pt x="873" y="247"/>
                    <a:pt x="759" y="271"/>
                    <a:pt x="652" y="326"/>
                  </a:cubicBezTo>
                  <a:cubicBezTo>
                    <a:pt x="555" y="377"/>
                    <a:pt x="474" y="447"/>
                    <a:pt x="412" y="538"/>
                  </a:cubicBezTo>
                  <a:cubicBezTo>
                    <a:pt x="323" y="667"/>
                    <a:pt x="284" y="812"/>
                    <a:pt x="291" y="968"/>
                  </a:cubicBezTo>
                  <a:cubicBezTo>
                    <a:pt x="295" y="1065"/>
                    <a:pt x="327" y="1151"/>
                    <a:pt x="390" y="1224"/>
                  </a:cubicBezTo>
                  <a:cubicBezTo>
                    <a:pt x="409" y="1245"/>
                    <a:pt x="413" y="1269"/>
                    <a:pt x="406" y="1295"/>
                  </a:cubicBezTo>
                  <a:cubicBezTo>
                    <a:pt x="396" y="1333"/>
                    <a:pt x="387" y="1371"/>
                    <a:pt x="376" y="1409"/>
                  </a:cubicBezTo>
                  <a:cubicBezTo>
                    <a:pt x="364" y="1451"/>
                    <a:pt x="338" y="1462"/>
                    <a:pt x="298" y="1445"/>
                  </a:cubicBezTo>
                  <a:cubicBezTo>
                    <a:pt x="225" y="1413"/>
                    <a:pt x="166" y="1364"/>
                    <a:pt x="120" y="1299"/>
                  </a:cubicBezTo>
                  <a:cubicBezTo>
                    <a:pt x="48" y="1196"/>
                    <a:pt x="20" y="1079"/>
                    <a:pt x="12" y="957"/>
                  </a:cubicBezTo>
                  <a:cubicBezTo>
                    <a:pt x="0" y="782"/>
                    <a:pt x="44" y="621"/>
                    <a:pt x="132" y="472"/>
                  </a:cubicBezTo>
                  <a:cubicBezTo>
                    <a:pt x="197" y="362"/>
                    <a:pt x="282" y="272"/>
                    <a:pt x="384" y="197"/>
                  </a:cubicBezTo>
                  <a:cubicBezTo>
                    <a:pt x="528" y="92"/>
                    <a:pt x="690" y="34"/>
                    <a:pt x="866" y="12"/>
                  </a:cubicBezTo>
                  <a:cubicBezTo>
                    <a:pt x="897" y="8"/>
                    <a:pt x="928" y="4"/>
                    <a:pt x="958" y="0"/>
                  </a:cubicBezTo>
                  <a:cubicBezTo>
                    <a:pt x="1002" y="0"/>
                    <a:pt x="1046" y="0"/>
                    <a:pt x="1090"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49" name="Freeform 9">
              <a:hlinkClick r:id="rId4"/>
              <a:extLst>
                <a:ext uri="{FF2B5EF4-FFF2-40B4-BE49-F238E27FC236}">
                  <a16:creationId xmlns:a16="http://schemas.microsoft.com/office/drawing/2014/main" id="{79E3C4C3-75BC-400B-9423-C23D49C6A79D}"/>
                </a:ext>
              </a:extLst>
            </p:cNvPr>
            <p:cNvSpPr>
              <a:spLocks noEditPoints="1"/>
            </p:cNvSpPr>
            <p:nvPr/>
          </p:nvSpPr>
          <p:spPr bwMode="auto">
            <a:xfrm>
              <a:off x="1464842" y="6269454"/>
              <a:ext cx="257601" cy="245189"/>
            </a:xfrm>
            <a:custGeom>
              <a:avLst/>
              <a:gdLst>
                <a:gd name="T0" fmla="*/ 1720 w 1720"/>
                <a:gd name="T1" fmla="*/ 1008 h 1644"/>
                <a:gd name="T2" fmla="*/ 1720 w 1720"/>
                <a:gd name="T3" fmla="*/ 1644 h 1644"/>
                <a:gd name="T4" fmla="*/ 1352 w 1720"/>
                <a:gd name="T5" fmla="*/ 1644 h 1644"/>
                <a:gd name="T6" fmla="*/ 1352 w 1720"/>
                <a:gd name="T7" fmla="*/ 1050 h 1644"/>
                <a:gd name="T8" fmla="*/ 1165 w 1720"/>
                <a:gd name="T9" fmla="*/ 799 h 1644"/>
                <a:gd name="T10" fmla="*/ 976 w 1720"/>
                <a:gd name="T11" fmla="*/ 934 h 1644"/>
                <a:gd name="T12" fmla="*/ 963 w 1720"/>
                <a:gd name="T13" fmla="*/ 1024 h 1644"/>
                <a:gd name="T14" fmla="*/ 963 w 1720"/>
                <a:gd name="T15" fmla="*/ 1644 h 1644"/>
                <a:gd name="T16" fmla="*/ 595 w 1720"/>
                <a:gd name="T17" fmla="*/ 1644 h 1644"/>
                <a:gd name="T18" fmla="*/ 595 w 1720"/>
                <a:gd name="T19" fmla="*/ 534 h 1644"/>
                <a:gd name="T20" fmla="*/ 963 w 1720"/>
                <a:gd name="T21" fmla="*/ 534 h 1644"/>
                <a:gd name="T22" fmla="*/ 963 w 1720"/>
                <a:gd name="T23" fmla="*/ 692 h 1644"/>
                <a:gd name="T24" fmla="*/ 961 w 1720"/>
                <a:gd name="T25" fmla="*/ 695 h 1644"/>
                <a:gd name="T26" fmla="*/ 963 w 1720"/>
                <a:gd name="T27" fmla="*/ 695 h 1644"/>
                <a:gd name="T28" fmla="*/ 963 w 1720"/>
                <a:gd name="T29" fmla="*/ 692 h 1644"/>
                <a:gd name="T30" fmla="*/ 1296 w 1720"/>
                <a:gd name="T31" fmla="*/ 508 h 1644"/>
                <a:gd name="T32" fmla="*/ 1720 w 1720"/>
                <a:gd name="T33" fmla="*/ 1008 h 1644"/>
                <a:gd name="T34" fmla="*/ 209 w 1720"/>
                <a:gd name="T35" fmla="*/ 0 h 1644"/>
                <a:gd name="T36" fmla="*/ 0 w 1720"/>
                <a:gd name="T37" fmla="*/ 191 h 1644"/>
                <a:gd name="T38" fmla="*/ 204 w 1720"/>
                <a:gd name="T39" fmla="*/ 383 h 1644"/>
                <a:gd name="T40" fmla="*/ 206 w 1720"/>
                <a:gd name="T41" fmla="*/ 383 h 1644"/>
                <a:gd name="T42" fmla="*/ 415 w 1720"/>
                <a:gd name="T43" fmla="*/ 191 h 1644"/>
                <a:gd name="T44" fmla="*/ 209 w 1720"/>
                <a:gd name="T45" fmla="*/ 0 h 1644"/>
                <a:gd name="T46" fmla="*/ 22 w 1720"/>
                <a:gd name="T47" fmla="*/ 1644 h 1644"/>
                <a:gd name="T48" fmla="*/ 391 w 1720"/>
                <a:gd name="T49" fmla="*/ 1644 h 1644"/>
                <a:gd name="T50" fmla="*/ 391 w 1720"/>
                <a:gd name="T51" fmla="*/ 534 h 1644"/>
                <a:gd name="T52" fmla="*/ 22 w 1720"/>
                <a:gd name="T53" fmla="*/ 534 h 1644"/>
                <a:gd name="T54" fmla="*/ 22 w 1720"/>
                <a:gd name="T55" fmla="*/ 164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0" h="1644">
                  <a:moveTo>
                    <a:pt x="1720" y="1008"/>
                  </a:moveTo>
                  <a:cubicBezTo>
                    <a:pt x="1720" y="1644"/>
                    <a:pt x="1720" y="1644"/>
                    <a:pt x="1720" y="1644"/>
                  </a:cubicBezTo>
                  <a:cubicBezTo>
                    <a:pt x="1352" y="1644"/>
                    <a:pt x="1352" y="1644"/>
                    <a:pt x="1352" y="1644"/>
                  </a:cubicBezTo>
                  <a:cubicBezTo>
                    <a:pt x="1352" y="1050"/>
                    <a:pt x="1352" y="1050"/>
                    <a:pt x="1352" y="1050"/>
                  </a:cubicBezTo>
                  <a:cubicBezTo>
                    <a:pt x="1352" y="901"/>
                    <a:pt x="1298" y="799"/>
                    <a:pt x="1165" y="799"/>
                  </a:cubicBezTo>
                  <a:cubicBezTo>
                    <a:pt x="1063" y="799"/>
                    <a:pt x="1002" y="868"/>
                    <a:pt x="976" y="934"/>
                  </a:cubicBezTo>
                  <a:cubicBezTo>
                    <a:pt x="966" y="958"/>
                    <a:pt x="963" y="991"/>
                    <a:pt x="963" y="1024"/>
                  </a:cubicBezTo>
                  <a:cubicBezTo>
                    <a:pt x="963" y="1644"/>
                    <a:pt x="963" y="1644"/>
                    <a:pt x="963" y="1644"/>
                  </a:cubicBezTo>
                  <a:cubicBezTo>
                    <a:pt x="595" y="1644"/>
                    <a:pt x="595" y="1644"/>
                    <a:pt x="595" y="1644"/>
                  </a:cubicBezTo>
                  <a:cubicBezTo>
                    <a:pt x="595" y="1644"/>
                    <a:pt x="600" y="639"/>
                    <a:pt x="595" y="534"/>
                  </a:cubicBezTo>
                  <a:cubicBezTo>
                    <a:pt x="963" y="534"/>
                    <a:pt x="963" y="534"/>
                    <a:pt x="963" y="534"/>
                  </a:cubicBezTo>
                  <a:cubicBezTo>
                    <a:pt x="963" y="692"/>
                    <a:pt x="963" y="692"/>
                    <a:pt x="963" y="692"/>
                  </a:cubicBezTo>
                  <a:cubicBezTo>
                    <a:pt x="963" y="693"/>
                    <a:pt x="962" y="694"/>
                    <a:pt x="961" y="695"/>
                  </a:cubicBezTo>
                  <a:cubicBezTo>
                    <a:pt x="963" y="695"/>
                    <a:pt x="963" y="695"/>
                    <a:pt x="963" y="695"/>
                  </a:cubicBezTo>
                  <a:cubicBezTo>
                    <a:pt x="963" y="692"/>
                    <a:pt x="963" y="692"/>
                    <a:pt x="963" y="692"/>
                  </a:cubicBezTo>
                  <a:cubicBezTo>
                    <a:pt x="1012" y="616"/>
                    <a:pt x="1100" y="508"/>
                    <a:pt x="1296" y="508"/>
                  </a:cubicBezTo>
                  <a:cubicBezTo>
                    <a:pt x="1539" y="508"/>
                    <a:pt x="1720" y="667"/>
                    <a:pt x="1720" y="1008"/>
                  </a:cubicBezTo>
                  <a:close/>
                  <a:moveTo>
                    <a:pt x="209" y="0"/>
                  </a:moveTo>
                  <a:cubicBezTo>
                    <a:pt x="83" y="0"/>
                    <a:pt x="0" y="83"/>
                    <a:pt x="0" y="191"/>
                  </a:cubicBezTo>
                  <a:cubicBezTo>
                    <a:pt x="0" y="298"/>
                    <a:pt x="80" y="383"/>
                    <a:pt x="204" y="383"/>
                  </a:cubicBezTo>
                  <a:cubicBezTo>
                    <a:pt x="206" y="383"/>
                    <a:pt x="206" y="383"/>
                    <a:pt x="206" y="383"/>
                  </a:cubicBezTo>
                  <a:cubicBezTo>
                    <a:pt x="335" y="383"/>
                    <a:pt x="415" y="298"/>
                    <a:pt x="415" y="191"/>
                  </a:cubicBezTo>
                  <a:cubicBezTo>
                    <a:pt x="413" y="83"/>
                    <a:pt x="335" y="0"/>
                    <a:pt x="209" y="0"/>
                  </a:cubicBezTo>
                  <a:close/>
                  <a:moveTo>
                    <a:pt x="22" y="1644"/>
                  </a:moveTo>
                  <a:cubicBezTo>
                    <a:pt x="391" y="1644"/>
                    <a:pt x="391" y="1644"/>
                    <a:pt x="391" y="1644"/>
                  </a:cubicBezTo>
                  <a:cubicBezTo>
                    <a:pt x="391" y="534"/>
                    <a:pt x="391" y="534"/>
                    <a:pt x="391" y="534"/>
                  </a:cubicBezTo>
                  <a:cubicBezTo>
                    <a:pt x="22" y="534"/>
                    <a:pt x="22" y="534"/>
                    <a:pt x="22" y="534"/>
                  </a:cubicBezTo>
                  <a:lnTo>
                    <a:pt x="22" y="1644"/>
                  </a:ln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53" name="Freeform 13">
              <a:hlinkClick r:id="rId6"/>
              <a:extLst>
                <a:ext uri="{FF2B5EF4-FFF2-40B4-BE49-F238E27FC236}">
                  <a16:creationId xmlns:a16="http://schemas.microsoft.com/office/drawing/2014/main" id="{FD8CCA0C-B38F-4D8F-8D43-6039E8E97BD4}"/>
                </a:ext>
              </a:extLst>
            </p:cNvPr>
            <p:cNvSpPr>
              <a:spLocks/>
            </p:cNvSpPr>
            <p:nvPr/>
          </p:nvSpPr>
          <p:spPr bwMode="auto">
            <a:xfrm>
              <a:off x="1049770" y="6291849"/>
              <a:ext cx="247907" cy="200353"/>
            </a:xfrm>
            <a:custGeom>
              <a:avLst/>
              <a:gdLst>
                <a:gd name="T0" fmla="*/ 2448 w 2448"/>
                <a:gd name="T1" fmla="*/ 235 h 1988"/>
                <a:gd name="T2" fmla="*/ 2160 w 2448"/>
                <a:gd name="T3" fmla="*/ 314 h 1988"/>
                <a:gd name="T4" fmla="*/ 2380 w 2448"/>
                <a:gd name="T5" fmla="*/ 36 h 1988"/>
                <a:gd name="T6" fmla="*/ 2061 w 2448"/>
                <a:gd name="T7" fmla="*/ 158 h 1988"/>
                <a:gd name="T8" fmla="*/ 1695 w 2448"/>
                <a:gd name="T9" fmla="*/ 0 h 1988"/>
                <a:gd name="T10" fmla="*/ 1193 w 2448"/>
                <a:gd name="T11" fmla="*/ 502 h 1988"/>
                <a:gd name="T12" fmla="*/ 1206 w 2448"/>
                <a:gd name="T13" fmla="*/ 616 h 1988"/>
                <a:gd name="T14" fmla="*/ 171 w 2448"/>
                <a:gd name="T15" fmla="*/ 92 h 1988"/>
                <a:gd name="T16" fmla="*/ 103 w 2448"/>
                <a:gd name="T17" fmla="*/ 344 h 1988"/>
                <a:gd name="T18" fmla="*/ 326 w 2448"/>
                <a:gd name="T19" fmla="*/ 762 h 1988"/>
                <a:gd name="T20" fmla="*/ 99 w 2448"/>
                <a:gd name="T21" fmla="*/ 699 h 1988"/>
                <a:gd name="T22" fmla="*/ 99 w 2448"/>
                <a:gd name="T23" fmla="*/ 705 h 1988"/>
                <a:gd name="T24" fmla="*/ 501 w 2448"/>
                <a:gd name="T25" fmla="*/ 1198 h 1988"/>
                <a:gd name="T26" fmla="*/ 369 w 2448"/>
                <a:gd name="T27" fmla="*/ 1215 h 1988"/>
                <a:gd name="T28" fmla="*/ 274 w 2448"/>
                <a:gd name="T29" fmla="*/ 1206 h 1988"/>
                <a:gd name="T30" fmla="*/ 743 w 2448"/>
                <a:gd name="T31" fmla="*/ 1555 h 1988"/>
                <a:gd name="T32" fmla="*/ 120 w 2448"/>
                <a:gd name="T33" fmla="*/ 1769 h 1988"/>
                <a:gd name="T34" fmla="*/ 0 w 2448"/>
                <a:gd name="T35" fmla="*/ 1762 h 1988"/>
                <a:gd name="T36" fmla="*/ 770 w 2448"/>
                <a:gd name="T37" fmla="*/ 1988 h 1988"/>
                <a:gd name="T38" fmla="*/ 2199 w 2448"/>
                <a:gd name="T39" fmla="*/ 559 h 1988"/>
                <a:gd name="T40" fmla="*/ 2197 w 2448"/>
                <a:gd name="T41" fmla="*/ 494 h 1988"/>
                <a:gd name="T42" fmla="*/ 2448 w 2448"/>
                <a:gd name="T43" fmla="*/ 235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8" h="1988">
                  <a:moveTo>
                    <a:pt x="2448" y="235"/>
                  </a:moveTo>
                  <a:cubicBezTo>
                    <a:pt x="2358" y="275"/>
                    <a:pt x="2261" y="302"/>
                    <a:pt x="2160" y="314"/>
                  </a:cubicBezTo>
                  <a:cubicBezTo>
                    <a:pt x="2263" y="252"/>
                    <a:pt x="2343" y="153"/>
                    <a:pt x="2380" y="36"/>
                  </a:cubicBezTo>
                  <a:cubicBezTo>
                    <a:pt x="2283" y="94"/>
                    <a:pt x="2176" y="136"/>
                    <a:pt x="2061" y="158"/>
                  </a:cubicBezTo>
                  <a:cubicBezTo>
                    <a:pt x="1970" y="61"/>
                    <a:pt x="1839" y="0"/>
                    <a:pt x="1695" y="0"/>
                  </a:cubicBezTo>
                  <a:cubicBezTo>
                    <a:pt x="1417" y="0"/>
                    <a:pt x="1193" y="225"/>
                    <a:pt x="1193" y="502"/>
                  </a:cubicBezTo>
                  <a:cubicBezTo>
                    <a:pt x="1193" y="541"/>
                    <a:pt x="1197" y="580"/>
                    <a:pt x="1206" y="616"/>
                  </a:cubicBezTo>
                  <a:cubicBezTo>
                    <a:pt x="788" y="595"/>
                    <a:pt x="418" y="395"/>
                    <a:pt x="171" y="92"/>
                  </a:cubicBezTo>
                  <a:cubicBezTo>
                    <a:pt x="127" y="166"/>
                    <a:pt x="103" y="252"/>
                    <a:pt x="103" y="344"/>
                  </a:cubicBezTo>
                  <a:cubicBezTo>
                    <a:pt x="103" y="518"/>
                    <a:pt x="191" y="672"/>
                    <a:pt x="326" y="762"/>
                  </a:cubicBezTo>
                  <a:cubicBezTo>
                    <a:pt x="244" y="759"/>
                    <a:pt x="166" y="736"/>
                    <a:pt x="99" y="699"/>
                  </a:cubicBezTo>
                  <a:cubicBezTo>
                    <a:pt x="99" y="705"/>
                    <a:pt x="99" y="705"/>
                    <a:pt x="99" y="705"/>
                  </a:cubicBezTo>
                  <a:cubicBezTo>
                    <a:pt x="99" y="948"/>
                    <a:pt x="272" y="1151"/>
                    <a:pt x="501" y="1198"/>
                  </a:cubicBezTo>
                  <a:cubicBezTo>
                    <a:pt x="459" y="1209"/>
                    <a:pt x="415" y="1215"/>
                    <a:pt x="369" y="1215"/>
                  </a:cubicBezTo>
                  <a:cubicBezTo>
                    <a:pt x="337" y="1215"/>
                    <a:pt x="305" y="1212"/>
                    <a:pt x="274" y="1206"/>
                  </a:cubicBezTo>
                  <a:cubicBezTo>
                    <a:pt x="338" y="1405"/>
                    <a:pt x="524" y="1551"/>
                    <a:pt x="743" y="1555"/>
                  </a:cubicBezTo>
                  <a:cubicBezTo>
                    <a:pt x="572" y="1689"/>
                    <a:pt x="355" y="1769"/>
                    <a:pt x="120" y="1769"/>
                  </a:cubicBezTo>
                  <a:cubicBezTo>
                    <a:pt x="79" y="1769"/>
                    <a:pt x="39" y="1767"/>
                    <a:pt x="0" y="1762"/>
                  </a:cubicBezTo>
                  <a:cubicBezTo>
                    <a:pt x="222" y="1905"/>
                    <a:pt x="486" y="1988"/>
                    <a:pt x="770" y="1988"/>
                  </a:cubicBezTo>
                  <a:cubicBezTo>
                    <a:pt x="1694" y="1988"/>
                    <a:pt x="2199" y="1223"/>
                    <a:pt x="2199" y="559"/>
                  </a:cubicBezTo>
                  <a:cubicBezTo>
                    <a:pt x="2197" y="494"/>
                    <a:pt x="2197" y="494"/>
                    <a:pt x="2197" y="494"/>
                  </a:cubicBezTo>
                  <a:cubicBezTo>
                    <a:pt x="2295" y="424"/>
                    <a:pt x="2381" y="336"/>
                    <a:pt x="2448" y="235"/>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grpSp>
      <p:pic>
        <p:nvPicPr>
          <p:cNvPr id="3" name="Picture 2">
            <a:extLst>
              <a:ext uri="{FF2B5EF4-FFF2-40B4-BE49-F238E27FC236}">
                <a16:creationId xmlns:a16="http://schemas.microsoft.com/office/drawing/2014/main" id="{23B4FD9C-DBC4-4DFD-9620-B92D3F1F6A0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2" y="0"/>
            <a:ext cx="12191999" cy="5076100"/>
          </a:xfrm>
          <a:custGeom>
            <a:avLst/>
            <a:gdLst>
              <a:gd name="connsiteX0" fmla="*/ 0 w 12191999"/>
              <a:gd name="connsiteY0" fmla="*/ 0 h 5076100"/>
              <a:gd name="connsiteX1" fmla="*/ 12191999 w 12191999"/>
              <a:gd name="connsiteY1" fmla="*/ 0 h 5076100"/>
              <a:gd name="connsiteX2" fmla="*/ 12191999 w 12191999"/>
              <a:gd name="connsiteY2" fmla="*/ 5076100 h 5076100"/>
              <a:gd name="connsiteX3" fmla="*/ 0 w 12191999"/>
              <a:gd name="connsiteY3" fmla="*/ 5076100 h 5076100"/>
            </a:gdLst>
            <a:ahLst/>
            <a:cxnLst>
              <a:cxn ang="0">
                <a:pos x="connsiteX0" y="connsiteY0"/>
              </a:cxn>
              <a:cxn ang="0">
                <a:pos x="connsiteX1" y="connsiteY1"/>
              </a:cxn>
              <a:cxn ang="0">
                <a:pos x="connsiteX2" y="connsiteY2"/>
              </a:cxn>
              <a:cxn ang="0">
                <a:pos x="connsiteX3" y="connsiteY3"/>
              </a:cxn>
            </a:cxnLst>
            <a:rect l="l" t="t" r="r" b="b"/>
            <a:pathLst>
              <a:path w="12191999" h="5076100">
                <a:moveTo>
                  <a:pt x="0" y="0"/>
                </a:moveTo>
                <a:lnTo>
                  <a:pt x="12191999" y="0"/>
                </a:lnTo>
                <a:lnTo>
                  <a:pt x="12191999" y="5076100"/>
                </a:lnTo>
                <a:lnTo>
                  <a:pt x="0" y="5076100"/>
                </a:lnTo>
                <a:close/>
              </a:path>
            </a:pathLst>
          </a:custGeom>
        </p:spPr>
      </p:pic>
      <p:sp>
        <p:nvSpPr>
          <p:cNvPr id="6" name="Rectangle 5">
            <a:extLst>
              <a:ext uri="{FF2B5EF4-FFF2-40B4-BE49-F238E27FC236}">
                <a16:creationId xmlns:a16="http://schemas.microsoft.com/office/drawing/2014/main" id="{3B61D063-30AA-4E80-8611-5786E2C5F798}"/>
              </a:ext>
            </a:extLst>
          </p:cNvPr>
          <p:cNvSpPr/>
          <p:nvPr userDrawn="1"/>
        </p:nvSpPr>
        <p:spPr bwMode="auto">
          <a:xfrm>
            <a:off x="0" y="-1"/>
            <a:ext cx="12192000" cy="5076099"/>
          </a:xfrm>
          <a:prstGeom prst="rect">
            <a:avLst/>
          </a:prstGeom>
          <a:gradFill flip="none" rotWithShape="1">
            <a:gsLst>
              <a:gs pos="29000">
                <a:srgbClr val="000000">
                  <a:alpha val="20000"/>
                </a:srgbClr>
              </a:gs>
              <a:gs pos="0">
                <a:srgbClr val="000000">
                  <a:alpha val="40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2" descr="Image result for microsoft white logo">
            <a:extLst>
              <a:ext uri="{FF2B5EF4-FFF2-40B4-BE49-F238E27FC236}">
                <a16:creationId xmlns:a16="http://schemas.microsoft.com/office/drawing/2014/main" id="{D8478E0D-9AFC-4E1C-8573-F2BBF2F52363}"/>
              </a:ext>
            </a:extLst>
          </p:cNvPr>
          <p:cNvPicPr>
            <a:picLocks noChangeArrowheads="1"/>
          </p:cNvPicPr>
          <p:nvPr userDrawn="1"/>
        </p:nvPicPr>
        <p:blipFill rotWithShape="1">
          <a:blip r:embed="rId8" cstate="hqprint">
            <a:extLst>
              <a:ext uri="{28A0092B-C50C-407E-A947-70E740481C1C}">
                <a14:useLocalDpi xmlns:a14="http://schemas.microsoft.com/office/drawing/2010/main" val="0"/>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1">
            <a:extLst>
              <a:ext uri="{FF2B5EF4-FFF2-40B4-BE49-F238E27FC236}">
                <a16:creationId xmlns:a16="http://schemas.microsoft.com/office/drawing/2014/main" id="{DC50BEC9-00A4-4991-A1D2-1902F9F0F6CA}"/>
              </a:ext>
            </a:extLst>
          </p:cNvPr>
          <p:cNvSpPr txBox="1">
            <a:spLocks/>
          </p:cNvSpPr>
          <p:nvPr userDrawn="1"/>
        </p:nvSpPr>
        <p:spPr>
          <a:xfrm>
            <a:off x="494728" y="6607631"/>
            <a:ext cx="3048572" cy="215444"/>
          </a:xfrm>
          <a:prstGeom prst="rect">
            <a:avLst/>
          </a:prstGeom>
          <a:noFill/>
          <a:ln>
            <a:noFill/>
          </a:ln>
          <a:effectLst/>
        </p:spPr>
        <p:style>
          <a:lnRef idx="0">
            <a:scrgbClr r="0" g="0" b="0"/>
          </a:lnRef>
          <a:fillRef idx="0">
            <a:scrgbClr r="0" g="0" b="0"/>
          </a:fillRef>
          <a:effectRef idx="0">
            <a:scrgbClr r="0" g="0" b="0"/>
          </a:effectRef>
          <a:fontRef idx="major"/>
        </p:style>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693728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left)">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36">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38069"/>
            <a:ext cx="11653523" cy="923330"/>
          </a:xfrm>
          <a:noFill/>
        </p:spPr>
        <p:txBody>
          <a:bodyPr tIns="91440" bIns="91440" anchor="t" anchorCtr="0">
            <a:spAutoFit/>
          </a:bodyPr>
          <a:lstStyle>
            <a:lvl1pPr algn="ctr">
              <a:defRPr sz="4800" spc="-98" baseline="0">
                <a:solidFill>
                  <a:srgbClr val="50E6FF"/>
                </a:solidFill>
              </a:defRPr>
            </a:lvl1pPr>
          </a:lstStyle>
          <a:p>
            <a:r>
              <a:rPr lang="en-US"/>
              <a:t>Section title</a:t>
            </a:r>
          </a:p>
        </p:txBody>
      </p:sp>
    </p:spTree>
    <p:extLst>
      <p:ext uri="{BB962C8B-B14F-4D97-AF65-F5344CB8AC3E}">
        <p14:creationId xmlns:p14="http://schemas.microsoft.com/office/powerpoint/2010/main" val="74338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949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7"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25853867"/>
      </p:ext>
    </p:extLst>
  </p:cSld>
  <p:clrMap bg1="lt1" tx1="dk1" bg2="lt2" tx2="dk2" accent1="accent1" accent2="accent2" accent3="accent3" accent4="accent4" accent5="accent5" accent6="accent6" hlink="hlink" folHlink="folHlink"/>
  <p:sldLayoutIdLst>
    <p:sldLayoutId id="2147494396" r:id="rId1"/>
    <p:sldLayoutId id="2147494398" r:id="rId2"/>
    <p:sldLayoutId id="2147494400" r:id="rId3"/>
    <p:sldLayoutId id="2147494406" r:id="rId4"/>
    <p:sldLayoutId id="2147494407" r:id="rId5"/>
    <p:sldLayoutId id="2147494409" r:id="rId6"/>
    <p:sldLayoutId id="2147494411" r:id="rId7"/>
    <p:sldLayoutId id="2147494414" r:id="rId8"/>
    <p:sldLayoutId id="2147494416" r:id="rId9"/>
    <p:sldLayoutId id="2147494417" r:id="rId10"/>
    <p:sldLayoutId id="2147494418" r:id="rId11"/>
    <p:sldLayoutId id="2147494419" r:id="rId12"/>
    <p:sldLayoutId id="2147494425" r:id="rId13"/>
    <p:sldLayoutId id="2147494427" r:id="rId14"/>
    <p:sldLayoutId id="2147494428" r:id="rId15"/>
    <p:sldLayoutId id="2147494430" r:id="rId16"/>
    <p:sldLayoutId id="2147494431" r:id="rId17"/>
    <p:sldLayoutId id="2147494432" r:id="rId18"/>
    <p:sldLayoutId id="2147494436" r:id="rId19"/>
    <p:sldLayoutId id="2147494438" r:id="rId20"/>
    <p:sldLayoutId id="2147494440" r:id="rId21"/>
    <p:sldLayoutId id="2147494461" r:id="rId22"/>
    <p:sldLayoutId id="2147494463" r:id="rId23"/>
    <p:sldLayoutId id="2147494464" r:id="rId24"/>
    <p:sldLayoutId id="2147495379" r:id="rId25"/>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3.xml"/><Relationship Id="rId7" Type="http://schemas.openxmlformats.org/officeDocument/2006/relationships/image" Target="../media/image32.jpeg"/><Relationship Id="rId12" Type="http://schemas.openxmlformats.org/officeDocument/2006/relationships/image" Target="../media/image30.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1.jpeg"/><Relationship Id="rId11" Type="http://schemas.openxmlformats.org/officeDocument/2006/relationships/oleObject" Target="../embeddings/oleObject1.bin"/><Relationship Id="rId5" Type="http://schemas.openxmlformats.org/officeDocument/2006/relationships/notesSlide" Target="../notesSlides/notesSlide2.xml"/><Relationship Id="rId10" Type="http://schemas.openxmlformats.org/officeDocument/2006/relationships/image" Target="../media/image35.jpeg"/><Relationship Id="rId4" Type="http://schemas.openxmlformats.org/officeDocument/2006/relationships/slideLayout" Target="../slideLayouts/slideLayout10.xml"/><Relationship Id="rId9" Type="http://schemas.openxmlformats.org/officeDocument/2006/relationships/image" Target="../media/image34.jpeg"/></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0.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54.png"/><Relationship Id="rId4" Type="http://schemas.openxmlformats.org/officeDocument/2006/relationships/diagramLayout" Target="../diagrams/layout2.xml"/><Relationship Id="rId9" Type="http://schemas.openxmlformats.org/officeDocument/2006/relationships/image" Target="../media/image53.png"/></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0FBF2A-33F5-5940-8634-26E039373A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392" r="5021" b="12414"/>
          <a:stretch/>
        </p:blipFill>
        <p:spPr>
          <a:xfrm>
            <a:off x="0" y="0"/>
            <a:ext cx="12204000" cy="6876000"/>
          </a:xfrm>
          <a:prstGeom prst="rect">
            <a:avLst/>
          </a:prstGeom>
        </p:spPr>
      </p:pic>
      <p:sp>
        <p:nvSpPr>
          <p:cNvPr id="2" name="Rectangle 1">
            <a:extLst>
              <a:ext uri="{FF2B5EF4-FFF2-40B4-BE49-F238E27FC236}">
                <a16:creationId xmlns:a16="http://schemas.microsoft.com/office/drawing/2014/main" id="{D9910ED6-837E-49E3-B0FC-1C7DEC9BB8BC}"/>
              </a:ext>
            </a:extLst>
          </p:cNvPr>
          <p:cNvSpPr/>
          <p:nvPr/>
        </p:nvSpPr>
        <p:spPr bwMode="auto">
          <a:xfrm>
            <a:off x="0" y="0"/>
            <a:ext cx="6219825" cy="6858000"/>
          </a:xfrm>
          <a:prstGeom prst="rect">
            <a:avLst/>
          </a:prstGeom>
          <a:gradFill flip="none" rotWithShape="1">
            <a:gsLst>
              <a:gs pos="46000">
                <a:srgbClr val="000000">
                  <a:alpha val="56000"/>
                </a:srgbClr>
              </a:gs>
              <a:gs pos="72000">
                <a:srgbClr val="000000">
                  <a:alpha val="4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a:xfrm>
            <a:off x="354012" y="3332444"/>
            <a:ext cx="6904421" cy="609082"/>
          </a:xfrm>
        </p:spPr>
        <p:txBody>
          <a:bodyPr/>
          <a:lstStyle/>
          <a:p>
            <a:r>
              <a:rPr lang="en-US" dirty="0"/>
              <a:t>Microsoft Cloud Solution Center</a:t>
            </a:r>
          </a:p>
        </p:txBody>
      </p:sp>
      <p:sp>
        <p:nvSpPr>
          <p:cNvPr id="5" name="Text Placeholder 4"/>
          <p:cNvSpPr>
            <a:spLocks noGrp="1"/>
          </p:cNvSpPr>
          <p:nvPr>
            <p:ph type="body" sz="quarter" idx="12"/>
          </p:nvPr>
        </p:nvSpPr>
        <p:spPr>
          <a:xfrm>
            <a:off x="354012" y="2882462"/>
            <a:ext cx="5511800" cy="338554"/>
          </a:xfrm>
        </p:spPr>
        <p:txBody>
          <a:bodyPr/>
          <a:lstStyle/>
          <a:p>
            <a:r>
              <a:rPr lang="en-US" dirty="0"/>
              <a:t>Module 2</a:t>
            </a:r>
          </a:p>
        </p:txBody>
      </p:sp>
      <p:pic>
        <p:nvPicPr>
          <p:cNvPr id="9" name="MS logo white - EMF" descr="Microsoft logo white text version">
            <a:extLst>
              <a:ext uri="{FF2B5EF4-FFF2-40B4-BE49-F238E27FC236}">
                <a16:creationId xmlns:a16="http://schemas.microsoft.com/office/drawing/2014/main" id="{2D6D2EED-E1D0-E645-A601-6B33303FB49D}"/>
              </a:ext>
            </a:extLst>
          </p:cNvPr>
          <p:cNvPicPr>
            <a:picLocks noChangeAspect="1"/>
          </p:cNvPicPr>
          <p:nvPr/>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0491704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8" y="504122"/>
            <a:ext cx="7328950" cy="492443"/>
          </a:xfrm>
        </p:spPr>
        <p:txBody>
          <a:bodyPr/>
          <a:lstStyle/>
          <a:p>
            <a:pPr lvl="0"/>
            <a:r>
              <a:rPr lang="en-US" dirty="0">
                <a:solidFill>
                  <a:srgbClr val="0070C0"/>
                </a:solidFill>
              </a:rPr>
              <a:t>Deploy | Step 3 : Select destination</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E98990D-45F9-4CA3-9BDF-B8929768F782}"/>
              </a:ext>
            </a:extLst>
          </p:cNvPr>
          <p:cNvSpPr txBox="1"/>
          <p:nvPr/>
        </p:nvSpPr>
        <p:spPr>
          <a:xfrm>
            <a:off x="109799" y="2556108"/>
            <a:ext cx="2270693" cy="369332"/>
          </a:xfrm>
          <a:prstGeom prst="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dirty="0">
                <a:solidFill>
                  <a:srgbClr val="0078D4"/>
                </a:solidFill>
                <a:latin typeface="Segoe UI Semibold"/>
                <a:cs typeface="Segoe UI"/>
              </a:rPr>
              <a:t>Select environment</a:t>
            </a:r>
            <a:endParaRPr kumimoji="0" lang="en-US" sz="1800" b="0" i="0" strike="noStrike" kern="1200" cap="none" spc="0" normalizeH="0" baseline="0" noProof="0" dirty="0">
              <a:ln>
                <a:noFill/>
              </a:ln>
              <a:solidFill>
                <a:srgbClr val="0078D4"/>
              </a:solidFill>
              <a:effectLst/>
              <a:uLnTx/>
              <a:uFillTx/>
              <a:latin typeface="Segoe UI Semibold"/>
              <a:ea typeface="+mn-ea"/>
              <a:cs typeface="Segoe UI"/>
            </a:endParaRPr>
          </a:p>
        </p:txBody>
      </p:sp>
      <p:pic>
        <p:nvPicPr>
          <p:cNvPr id="6" name="Picture 5">
            <a:extLst>
              <a:ext uri="{FF2B5EF4-FFF2-40B4-BE49-F238E27FC236}">
                <a16:creationId xmlns:a16="http://schemas.microsoft.com/office/drawing/2014/main" id="{C2D72038-1831-4B54-BEB2-C8133755900C}"/>
              </a:ext>
            </a:extLst>
          </p:cNvPr>
          <p:cNvPicPr>
            <a:picLocks noChangeAspect="1"/>
          </p:cNvPicPr>
          <p:nvPr/>
        </p:nvPicPr>
        <p:blipFill>
          <a:blip r:embed="rId3"/>
          <a:stretch>
            <a:fillRect/>
          </a:stretch>
        </p:blipFill>
        <p:spPr>
          <a:xfrm>
            <a:off x="2590799" y="1190151"/>
            <a:ext cx="8905249" cy="54177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0005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8" y="504123"/>
            <a:ext cx="8600344" cy="595808"/>
          </a:xfrm>
        </p:spPr>
        <p:txBody>
          <a:bodyPr/>
          <a:lstStyle/>
          <a:p>
            <a:pPr lvl="0"/>
            <a:r>
              <a:rPr lang="en-US" dirty="0">
                <a:solidFill>
                  <a:srgbClr val="0070C0"/>
                </a:solidFill>
              </a:rPr>
              <a:t>Deploy | Step 4 : Configure dependencies</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E98990D-45F9-4CA3-9BDF-B8929768F782}"/>
              </a:ext>
            </a:extLst>
          </p:cNvPr>
          <p:cNvSpPr txBox="1"/>
          <p:nvPr/>
        </p:nvSpPr>
        <p:spPr>
          <a:xfrm>
            <a:off x="84529" y="3656038"/>
            <a:ext cx="2270693" cy="646331"/>
          </a:xfrm>
          <a:prstGeom prst="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dirty="0">
                <a:solidFill>
                  <a:srgbClr val="0078D4"/>
                </a:solidFill>
                <a:latin typeface="Segoe UI Semibold"/>
                <a:cs typeface="Segoe UI"/>
              </a:rPr>
              <a:t>Configure dependencies</a:t>
            </a:r>
            <a:endParaRPr kumimoji="0" lang="en-US" sz="1800" b="0" i="0" strike="noStrike" kern="1200" cap="none" spc="0" normalizeH="0" baseline="0" noProof="0" dirty="0">
              <a:ln>
                <a:noFill/>
              </a:ln>
              <a:solidFill>
                <a:srgbClr val="0078D4"/>
              </a:solidFill>
              <a:effectLst/>
              <a:uLnTx/>
              <a:uFillTx/>
              <a:latin typeface="Segoe UI Semibold"/>
              <a:ea typeface="+mn-ea"/>
              <a:cs typeface="Segoe UI"/>
            </a:endParaRPr>
          </a:p>
        </p:txBody>
      </p:sp>
      <p:pic>
        <p:nvPicPr>
          <p:cNvPr id="9" name="Picture 8">
            <a:extLst>
              <a:ext uri="{FF2B5EF4-FFF2-40B4-BE49-F238E27FC236}">
                <a16:creationId xmlns:a16="http://schemas.microsoft.com/office/drawing/2014/main" id="{3AE7D6E8-05AE-4ECC-9B06-9DA8EF4BC521}"/>
              </a:ext>
            </a:extLst>
          </p:cNvPr>
          <p:cNvPicPr>
            <a:picLocks noChangeAspect="1"/>
          </p:cNvPicPr>
          <p:nvPr/>
        </p:nvPicPr>
        <p:blipFill>
          <a:blip r:embed="rId3"/>
          <a:stretch>
            <a:fillRect/>
          </a:stretch>
        </p:blipFill>
        <p:spPr>
          <a:xfrm>
            <a:off x="2626893" y="1167331"/>
            <a:ext cx="8988348" cy="544195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16255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8" y="504123"/>
            <a:ext cx="8600344" cy="492443"/>
          </a:xfrm>
        </p:spPr>
        <p:txBody>
          <a:bodyPr/>
          <a:lstStyle/>
          <a:p>
            <a:pPr lvl="0"/>
            <a:r>
              <a:rPr lang="en-US" dirty="0">
                <a:solidFill>
                  <a:srgbClr val="0070C0"/>
                </a:solidFill>
              </a:rPr>
              <a:t>Deploy | Step 5 : Install FSI solutions</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E98990D-45F9-4CA3-9BDF-B8929768F782}"/>
              </a:ext>
            </a:extLst>
          </p:cNvPr>
          <p:cNvSpPr txBox="1"/>
          <p:nvPr/>
        </p:nvSpPr>
        <p:spPr>
          <a:xfrm>
            <a:off x="77902" y="4351777"/>
            <a:ext cx="2270693" cy="369332"/>
          </a:xfrm>
          <a:prstGeom prst="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dirty="0">
                <a:solidFill>
                  <a:srgbClr val="0078D4"/>
                </a:solidFill>
                <a:latin typeface="Segoe UI Semibold"/>
                <a:cs typeface="Segoe UI"/>
              </a:rPr>
              <a:t>Install solutions</a:t>
            </a:r>
            <a:endParaRPr kumimoji="0" lang="en-US" sz="1800" b="0" i="0" strike="noStrike" kern="1200" cap="none" spc="0" normalizeH="0" baseline="0" noProof="0" dirty="0">
              <a:ln>
                <a:noFill/>
              </a:ln>
              <a:solidFill>
                <a:srgbClr val="0078D4"/>
              </a:solidFill>
              <a:effectLst/>
              <a:uLnTx/>
              <a:uFillTx/>
              <a:latin typeface="Segoe UI Semibold"/>
              <a:ea typeface="+mn-ea"/>
              <a:cs typeface="Segoe UI"/>
            </a:endParaRPr>
          </a:p>
        </p:txBody>
      </p:sp>
      <p:pic>
        <p:nvPicPr>
          <p:cNvPr id="6" name="Picture 5">
            <a:extLst>
              <a:ext uri="{FF2B5EF4-FFF2-40B4-BE49-F238E27FC236}">
                <a16:creationId xmlns:a16="http://schemas.microsoft.com/office/drawing/2014/main" id="{8E9A39DF-DB40-4875-BA53-6F496B6600AF}"/>
              </a:ext>
            </a:extLst>
          </p:cNvPr>
          <p:cNvPicPr>
            <a:picLocks noChangeAspect="1"/>
          </p:cNvPicPr>
          <p:nvPr/>
        </p:nvPicPr>
        <p:blipFill>
          <a:blip r:embed="rId3"/>
          <a:stretch>
            <a:fillRect/>
          </a:stretch>
        </p:blipFill>
        <p:spPr>
          <a:xfrm>
            <a:off x="2623930" y="1534535"/>
            <a:ext cx="8943351" cy="46542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279203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8" y="504123"/>
            <a:ext cx="8600344" cy="492443"/>
          </a:xfrm>
        </p:spPr>
        <p:txBody>
          <a:bodyPr/>
          <a:lstStyle/>
          <a:p>
            <a:pPr lvl="0"/>
            <a:r>
              <a:rPr lang="en-US" dirty="0">
                <a:solidFill>
                  <a:srgbClr val="0070C0"/>
                </a:solidFill>
              </a:rPr>
              <a:t>Deploy | Step 6 : Track solution status</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E98990D-45F9-4CA3-9BDF-B8929768F782}"/>
              </a:ext>
            </a:extLst>
          </p:cNvPr>
          <p:cNvSpPr txBox="1"/>
          <p:nvPr/>
        </p:nvSpPr>
        <p:spPr>
          <a:xfrm>
            <a:off x="77902" y="4663199"/>
            <a:ext cx="2270693" cy="1200329"/>
          </a:xfrm>
          <a:prstGeom prst="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strike="noStrike" kern="1200" cap="none" spc="0" normalizeH="0" baseline="0" noProof="0" dirty="0">
                <a:ln>
                  <a:noFill/>
                </a:ln>
                <a:solidFill>
                  <a:srgbClr val="0078D4"/>
                </a:solidFill>
                <a:effectLst/>
                <a:uLnTx/>
                <a:uFillTx/>
                <a:latin typeface="Segoe UI Semibold"/>
                <a:ea typeface="+mn-ea"/>
                <a:cs typeface="Segoe UI"/>
              </a:rPr>
              <a:t>Track s</a:t>
            </a:r>
            <a:r>
              <a:rPr lang="en-US" dirty="0" err="1">
                <a:solidFill>
                  <a:srgbClr val="0078D4"/>
                </a:solidFill>
                <a:latin typeface="Segoe UI Semibold"/>
                <a:cs typeface="Segoe UI"/>
              </a:rPr>
              <a:t>olution</a:t>
            </a:r>
            <a:r>
              <a:rPr lang="en-US" dirty="0">
                <a:solidFill>
                  <a:srgbClr val="0078D4"/>
                </a:solidFill>
                <a:latin typeface="Segoe UI Semibold"/>
                <a:cs typeface="Segoe UI"/>
              </a:rPr>
              <a:t> status in Power Platform Admin Center</a:t>
            </a:r>
            <a:endParaRPr kumimoji="0" lang="en-US" sz="1800" b="0" i="0" strike="noStrike" kern="1200" cap="none" spc="0" normalizeH="0" baseline="0" noProof="0" dirty="0">
              <a:ln>
                <a:noFill/>
              </a:ln>
              <a:solidFill>
                <a:srgbClr val="0078D4"/>
              </a:solidFill>
              <a:effectLst/>
              <a:uLnTx/>
              <a:uFillTx/>
              <a:latin typeface="Segoe UI Semibold"/>
              <a:ea typeface="+mn-ea"/>
              <a:cs typeface="Segoe UI"/>
            </a:endParaRPr>
          </a:p>
        </p:txBody>
      </p:sp>
      <p:pic>
        <p:nvPicPr>
          <p:cNvPr id="9" name="Picture 8" descr="Screenshot of chosen environment inside of Power Platform admin center">
            <a:extLst>
              <a:ext uri="{FF2B5EF4-FFF2-40B4-BE49-F238E27FC236}">
                <a16:creationId xmlns:a16="http://schemas.microsoft.com/office/drawing/2014/main" id="{CFF7C2F2-FDE6-4236-9126-CF56D30C350F}"/>
              </a:ext>
            </a:extLst>
          </p:cNvPr>
          <p:cNvPicPr>
            <a:picLocks noChangeAspect="1"/>
          </p:cNvPicPr>
          <p:nvPr/>
        </p:nvPicPr>
        <p:blipFill>
          <a:blip r:embed="rId3"/>
          <a:stretch>
            <a:fillRect/>
          </a:stretch>
        </p:blipFill>
        <p:spPr>
          <a:xfrm>
            <a:off x="2805174" y="1901952"/>
            <a:ext cx="8975805" cy="44583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Rectangle 9">
            <a:extLst>
              <a:ext uri="{FF2B5EF4-FFF2-40B4-BE49-F238E27FC236}">
                <a16:creationId xmlns:a16="http://schemas.microsoft.com/office/drawing/2014/main" id="{014E1490-8ACB-41B8-9984-7C8FD1E56AA2}"/>
              </a:ext>
            </a:extLst>
          </p:cNvPr>
          <p:cNvSpPr/>
          <p:nvPr/>
        </p:nvSpPr>
        <p:spPr bwMode="auto">
          <a:xfrm>
            <a:off x="4303059" y="3639671"/>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56C2FD1-6C16-40AC-8FC0-D0B27ED4ED59}"/>
              </a:ext>
            </a:extLst>
          </p:cNvPr>
          <p:cNvSpPr/>
          <p:nvPr/>
        </p:nvSpPr>
        <p:spPr bwMode="auto">
          <a:xfrm>
            <a:off x="4897800" y="2769532"/>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8012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8" y="504123"/>
            <a:ext cx="8600344" cy="492443"/>
          </a:xfrm>
        </p:spPr>
        <p:txBody>
          <a:bodyPr/>
          <a:lstStyle/>
          <a:p>
            <a:pPr lvl="0"/>
            <a:r>
              <a:rPr lang="en-US" dirty="0">
                <a:solidFill>
                  <a:srgbClr val="0070C0"/>
                </a:solidFill>
              </a:rPr>
              <a:t>Configure | Post deployment configuration</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E98990D-45F9-4CA3-9BDF-B8929768F782}"/>
              </a:ext>
            </a:extLst>
          </p:cNvPr>
          <p:cNvSpPr txBox="1"/>
          <p:nvPr/>
        </p:nvSpPr>
        <p:spPr>
          <a:xfrm>
            <a:off x="77902" y="5239667"/>
            <a:ext cx="2270693" cy="646331"/>
          </a:xfrm>
          <a:prstGeom prst="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strike="noStrike" kern="1200" cap="none" spc="0" normalizeH="0" baseline="0" noProof="0" dirty="0">
                <a:ln>
                  <a:noFill/>
                </a:ln>
                <a:solidFill>
                  <a:srgbClr val="0078D4"/>
                </a:solidFill>
                <a:effectLst/>
                <a:uLnTx/>
                <a:uFillTx/>
                <a:latin typeface="Segoe UI Semibold"/>
                <a:ea typeface="+mn-ea"/>
                <a:cs typeface="Segoe UI"/>
              </a:rPr>
              <a:t>Post deployment configurations</a:t>
            </a:r>
          </a:p>
        </p:txBody>
      </p:sp>
      <p:sp>
        <p:nvSpPr>
          <p:cNvPr id="10" name="Rectangle 9">
            <a:extLst>
              <a:ext uri="{FF2B5EF4-FFF2-40B4-BE49-F238E27FC236}">
                <a16:creationId xmlns:a16="http://schemas.microsoft.com/office/drawing/2014/main" id="{014E1490-8ACB-41B8-9984-7C8FD1E56AA2}"/>
              </a:ext>
            </a:extLst>
          </p:cNvPr>
          <p:cNvSpPr/>
          <p:nvPr/>
        </p:nvSpPr>
        <p:spPr bwMode="auto">
          <a:xfrm>
            <a:off x="4303059" y="3639671"/>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56C2FD1-6C16-40AC-8FC0-D0B27ED4ED59}"/>
              </a:ext>
            </a:extLst>
          </p:cNvPr>
          <p:cNvSpPr/>
          <p:nvPr/>
        </p:nvSpPr>
        <p:spPr bwMode="auto">
          <a:xfrm>
            <a:off x="4897800" y="2769532"/>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7" name="Picture 6">
            <a:extLst>
              <a:ext uri="{FF2B5EF4-FFF2-40B4-BE49-F238E27FC236}">
                <a16:creationId xmlns:a16="http://schemas.microsoft.com/office/drawing/2014/main" id="{90F2ECA2-861B-4399-8AA0-AD1E01F602E1}"/>
              </a:ext>
            </a:extLst>
          </p:cNvPr>
          <p:cNvPicPr>
            <a:picLocks noChangeAspect="1"/>
          </p:cNvPicPr>
          <p:nvPr/>
        </p:nvPicPr>
        <p:blipFill>
          <a:blip r:embed="rId3"/>
          <a:stretch>
            <a:fillRect/>
          </a:stretch>
        </p:blipFill>
        <p:spPr>
          <a:xfrm>
            <a:off x="2973689" y="1447765"/>
            <a:ext cx="8487679" cy="511813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44289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7" y="504123"/>
            <a:ext cx="9581005" cy="662159"/>
          </a:xfrm>
        </p:spPr>
        <p:txBody>
          <a:bodyPr/>
          <a:lstStyle/>
          <a:p>
            <a:pPr lvl="0"/>
            <a:r>
              <a:rPr lang="en-US" dirty="0">
                <a:solidFill>
                  <a:srgbClr val="0070C0"/>
                </a:solidFill>
              </a:rPr>
              <a:t>Configure | Post deployment solution configuration</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014E1490-8ACB-41B8-9984-7C8FD1E56AA2}"/>
              </a:ext>
            </a:extLst>
          </p:cNvPr>
          <p:cNvSpPr/>
          <p:nvPr/>
        </p:nvSpPr>
        <p:spPr bwMode="auto">
          <a:xfrm>
            <a:off x="4303059" y="3639671"/>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56C2FD1-6C16-40AC-8FC0-D0B27ED4ED59}"/>
              </a:ext>
            </a:extLst>
          </p:cNvPr>
          <p:cNvSpPr/>
          <p:nvPr/>
        </p:nvSpPr>
        <p:spPr bwMode="auto">
          <a:xfrm>
            <a:off x="4897800" y="2769532"/>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6" name="Flowchart: Alternate Process 5" descr="List of Dynamics 365 solution enhancements for Care Management, Home Health, Patient Access, Patient Outreach, and Patient Service Center">
            <a:extLst>
              <a:ext uri="{FF2B5EF4-FFF2-40B4-BE49-F238E27FC236}">
                <a16:creationId xmlns:a16="http://schemas.microsoft.com/office/drawing/2014/main" id="{3015E40D-70E7-45D8-A824-94F056603853}"/>
              </a:ext>
            </a:extLst>
          </p:cNvPr>
          <p:cNvSpPr/>
          <p:nvPr/>
        </p:nvSpPr>
        <p:spPr bwMode="auto">
          <a:xfrm>
            <a:off x="455873" y="2491167"/>
            <a:ext cx="11422105" cy="3822148"/>
          </a:xfrm>
          <a:prstGeom prst="flowChartAlternateProcess">
            <a:avLst/>
          </a:prstGeom>
          <a:noFill/>
          <a:ln>
            <a:solidFill>
              <a:schemeClr val="tx1"/>
            </a:solidFill>
            <a:headEnd type="none" w="med" len="med"/>
            <a:tailEnd type="none" w="med" len="med"/>
          </a:ln>
          <a:effectLst>
            <a:glow rad="635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graphicFrame>
        <p:nvGraphicFramePr>
          <p:cNvPr id="7" name="Diagram 6">
            <a:extLst>
              <a:ext uri="{FF2B5EF4-FFF2-40B4-BE49-F238E27FC236}">
                <a16:creationId xmlns:a16="http://schemas.microsoft.com/office/drawing/2014/main" id="{EA7B1761-0557-457B-887A-621CBEB5472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19025446"/>
              </p:ext>
            </p:extLst>
          </p:nvPr>
        </p:nvGraphicFramePr>
        <p:xfrm>
          <a:off x="1973487" y="2566052"/>
          <a:ext cx="8725195" cy="3575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4537D17A-46D1-4995-AE3A-965388196506}"/>
              </a:ext>
            </a:extLst>
          </p:cNvPr>
          <p:cNvSpPr txBox="1"/>
          <p:nvPr/>
        </p:nvSpPr>
        <p:spPr>
          <a:xfrm>
            <a:off x="416604" y="1348597"/>
            <a:ext cx="11358789" cy="369332"/>
          </a:xfrm>
          <a:prstGeom prst="rect">
            <a:avLst/>
          </a:prstGeom>
          <a:solidFill>
            <a:schemeClr val="accent1">
              <a:lumMod val="40000"/>
              <a:lumOff val="60000"/>
            </a:schemeClr>
          </a:solidFill>
          <a:ln w="12700" cap="flat" cmpd="sng" algn="ctr">
            <a:solidFill>
              <a:schemeClr val="bg1"/>
            </a:solidFill>
            <a:prstDash val="solid"/>
            <a:miter lim="800000"/>
          </a:ln>
          <a:effectLst/>
        </p:spPr>
        <p:style>
          <a:lnRef idx="0">
            <a:scrgbClr r="0" g="0" b="0"/>
          </a:lnRef>
          <a:fillRef idx="0">
            <a:scrgbClr r="0" g="0" b="0"/>
          </a:fillRef>
          <a:effectRef idx="0">
            <a:scrgbClr r="0" g="0" b="0"/>
          </a:effectRef>
          <a:fontRef idx="major"/>
        </p:style>
        <p:txBody>
          <a:bodyPr wrap="square">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dirty="0">
                <a:latin typeface="Segoe UI Semibold"/>
                <a:cs typeface="Segoe UI"/>
              </a:rPr>
              <a:t>Configure Microsoft Teams solution for collaboration</a:t>
            </a:r>
            <a:endParaRPr kumimoji="0" lang="en-US" sz="1800" b="0" i="0" u="none" strike="noStrike" kern="0" cap="none" spc="0" normalizeH="0" baseline="0" noProof="0" dirty="0">
              <a:ln>
                <a:noFill/>
              </a:ln>
              <a:effectLst/>
              <a:uLnTx/>
              <a:uFillTx/>
              <a:latin typeface="Segoe UI Semibold"/>
              <a:ea typeface="+mn-ea"/>
              <a:cs typeface="Segoe UI"/>
            </a:endParaRPr>
          </a:p>
        </p:txBody>
      </p:sp>
      <p:sp>
        <p:nvSpPr>
          <p:cNvPr id="12" name="TextBox 11">
            <a:extLst>
              <a:ext uri="{FF2B5EF4-FFF2-40B4-BE49-F238E27FC236}">
                <a16:creationId xmlns:a16="http://schemas.microsoft.com/office/drawing/2014/main" id="{66FAFFBA-2BBC-4ACA-92A9-846B859AA7E1}"/>
              </a:ext>
            </a:extLst>
          </p:cNvPr>
          <p:cNvSpPr txBox="1"/>
          <p:nvPr/>
        </p:nvSpPr>
        <p:spPr>
          <a:xfrm>
            <a:off x="416604" y="1919882"/>
            <a:ext cx="11422105" cy="369332"/>
          </a:xfrm>
          <a:prstGeom prst="rect">
            <a:avLst/>
          </a:prstGeom>
          <a:solidFill>
            <a:schemeClr val="accent1">
              <a:lumMod val="40000"/>
              <a:lumOff val="60000"/>
            </a:schemeClr>
          </a:solidFill>
          <a:ln w="12700" cap="flat" cmpd="sng" algn="ctr">
            <a:solidFill>
              <a:schemeClr val="bg1"/>
            </a:solidFill>
            <a:prstDash val="solid"/>
            <a:miter lim="800000"/>
          </a:ln>
          <a:effectLst/>
        </p:spPr>
        <p:style>
          <a:lnRef idx="0">
            <a:scrgbClr r="0" g="0" b="0"/>
          </a:lnRef>
          <a:fillRef idx="0">
            <a:scrgbClr r="0" g="0" b="0"/>
          </a:fillRef>
          <a:effectRef idx="0">
            <a:scrgbClr r="0" g="0" b="0"/>
          </a:effectRef>
          <a:fontRef idx="major"/>
        </p:style>
        <p:txBody>
          <a:bodyPr wrap="square">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a:latin typeface="Segoe UI Semibold"/>
                <a:cs typeface="Segoe UI"/>
              </a:rPr>
              <a:t>Dynamics 365 solution enhancements</a:t>
            </a:r>
            <a:endParaRPr kumimoji="0" lang="en-US" sz="1800" b="0" i="0" u="none" strike="noStrike" kern="0" cap="none" spc="0" normalizeH="0" baseline="0" noProof="0">
              <a:ln>
                <a:noFill/>
              </a:ln>
              <a:effectLst/>
              <a:uLnTx/>
              <a:uFillTx/>
              <a:latin typeface="Segoe UI Semibold"/>
              <a:ea typeface="+mn-ea"/>
              <a:cs typeface="Segoe UI"/>
            </a:endParaRPr>
          </a:p>
        </p:txBody>
      </p:sp>
    </p:spTree>
    <p:extLst>
      <p:ext uri="{BB962C8B-B14F-4D97-AF65-F5344CB8AC3E}">
        <p14:creationId xmlns:p14="http://schemas.microsoft.com/office/powerpoint/2010/main" val="40130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7" y="504123"/>
            <a:ext cx="9581005" cy="492443"/>
          </a:xfrm>
        </p:spPr>
        <p:txBody>
          <a:bodyPr/>
          <a:lstStyle/>
          <a:p>
            <a:pPr lvl="0"/>
            <a:r>
              <a:rPr lang="en-US" dirty="0">
                <a:solidFill>
                  <a:srgbClr val="0070C0"/>
                </a:solidFill>
              </a:rPr>
              <a:t>Configure | Post deployment user configuration</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014E1490-8ACB-41B8-9984-7C8FD1E56AA2}"/>
              </a:ext>
            </a:extLst>
          </p:cNvPr>
          <p:cNvSpPr/>
          <p:nvPr/>
        </p:nvSpPr>
        <p:spPr bwMode="auto">
          <a:xfrm>
            <a:off x="4303059" y="3639671"/>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56C2FD1-6C16-40AC-8FC0-D0B27ED4ED59}"/>
              </a:ext>
            </a:extLst>
          </p:cNvPr>
          <p:cNvSpPr/>
          <p:nvPr/>
        </p:nvSpPr>
        <p:spPr bwMode="auto">
          <a:xfrm>
            <a:off x="4897800" y="2769532"/>
            <a:ext cx="1039906" cy="13447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aphicFrame>
        <p:nvGraphicFramePr>
          <p:cNvPr id="3" name="Diagram 2" descr="List of user personas for Care Management, Home Health, Patient Service Center, Patient Outreach, and Patient Access">
            <a:extLst>
              <a:ext uri="{FF2B5EF4-FFF2-40B4-BE49-F238E27FC236}">
                <a16:creationId xmlns:a16="http://schemas.microsoft.com/office/drawing/2014/main" id="{281A7A57-444A-4B10-82F9-140C47996CC3}"/>
              </a:ext>
            </a:extLst>
          </p:cNvPr>
          <p:cNvGraphicFramePr/>
          <p:nvPr>
            <p:extLst>
              <p:ext uri="{D42A27DB-BD31-4B8C-83A1-F6EECF244321}">
                <p14:modId xmlns:p14="http://schemas.microsoft.com/office/powerpoint/2010/main" val="1877686286"/>
              </p:ext>
            </p:extLst>
          </p:nvPr>
        </p:nvGraphicFramePr>
        <p:xfrm>
          <a:off x="2635329" y="1292111"/>
          <a:ext cx="9931244" cy="51177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CD14218E-538F-4B8F-974A-DA1401D642A3}"/>
              </a:ext>
            </a:extLst>
          </p:cNvPr>
          <p:cNvSpPr txBox="1"/>
          <p:nvPr/>
        </p:nvSpPr>
        <p:spPr>
          <a:xfrm>
            <a:off x="163262" y="5251562"/>
            <a:ext cx="4944133" cy="923330"/>
          </a:xfrm>
          <a:prstGeom prst="rect">
            <a:avLst/>
          </a:prstGeom>
          <a:solidFill>
            <a:sysClr val="window" lastClr="FFFFFF"/>
          </a:solidFill>
          <a:ln w="12700" cap="flat" cmpd="sng" algn="ctr">
            <a:solidFill>
              <a:schemeClr val="bg1">
                <a:lumMod val="75000"/>
              </a:schemeClr>
            </a:solidFill>
            <a:prstDash val="solid"/>
            <a:miter lim="800000"/>
          </a:ln>
          <a:effectLst/>
        </p:spPr>
        <p:style>
          <a:lnRef idx="0">
            <a:scrgbClr r="0" g="0" b="0"/>
          </a:lnRef>
          <a:fillRef idx="0">
            <a:scrgbClr r="0" g="0" b="0"/>
          </a:fillRef>
          <a:effectRef idx="0">
            <a:scrgbClr r="0" g="0" b="0"/>
          </a:effectRef>
          <a:fontRef idx="major"/>
        </p:style>
        <p:txBody>
          <a:bodyPr wrap="square">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dirty="0">
                <a:solidFill>
                  <a:srgbClr val="0078D4"/>
                </a:solidFill>
                <a:latin typeface="Segoe UI Semibold"/>
                <a:cs typeface="Segoe UI"/>
              </a:rPr>
              <a:t>Add additional user </a:t>
            </a:r>
            <a:r>
              <a:rPr lang="en-US" dirty="0">
                <a:solidFill>
                  <a:srgbClr val="0078D4"/>
                </a:solidFill>
                <a:latin typeface="Segoe UI Semibold"/>
                <a:ea typeface="+mn-ea"/>
                <a:cs typeface="Segoe UI"/>
              </a:rPr>
              <a:t>licenses</a:t>
            </a:r>
            <a:r>
              <a:rPr lang="en-US" dirty="0">
                <a:solidFill>
                  <a:srgbClr val="0078D4"/>
                </a:solidFill>
                <a:latin typeface="Segoe UI Semibold"/>
                <a:cs typeface="Segoe UI"/>
              </a:rPr>
              <a:t> and assign security user roles </a:t>
            </a:r>
            <a:r>
              <a:rPr kumimoji="0" lang="en-US" sz="1800" b="0" i="0" u="none" strike="noStrike" kern="1200" cap="none" spc="0" normalizeH="0" baseline="0" noProof="0" dirty="0">
                <a:ln>
                  <a:noFill/>
                </a:ln>
                <a:solidFill>
                  <a:srgbClr val="0078D4"/>
                </a:solidFill>
                <a:effectLst/>
                <a:uLnTx/>
                <a:uFillTx/>
                <a:latin typeface="Segoe UI Semibold"/>
                <a:ea typeface="+mn-ea"/>
                <a:cs typeface="Segoe UI"/>
              </a:rPr>
              <a:t>in Power Platform Admin Center</a:t>
            </a:r>
            <a:endParaRPr kumimoji="0" lang="en-US" sz="1800" b="0" i="0" u="none" strike="noStrike" kern="0" cap="none" spc="0" normalizeH="0" baseline="0" noProof="0" dirty="0">
              <a:ln>
                <a:noFill/>
              </a:ln>
              <a:solidFill>
                <a:srgbClr val="0078D4"/>
              </a:solidFill>
              <a:effectLst/>
              <a:uLnTx/>
              <a:uFillTx/>
              <a:latin typeface="Segoe UI Semibold"/>
              <a:ea typeface="+mn-ea"/>
              <a:cs typeface="Segoe UI"/>
            </a:endParaRPr>
          </a:p>
        </p:txBody>
      </p:sp>
    </p:spTree>
    <p:extLst>
      <p:ext uri="{BB962C8B-B14F-4D97-AF65-F5344CB8AC3E}">
        <p14:creationId xmlns:p14="http://schemas.microsoft.com/office/powerpoint/2010/main" val="408576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person, indoor, window&#10;&#10;Description automatically generated">
            <a:extLst>
              <a:ext uri="{FF2B5EF4-FFF2-40B4-BE49-F238E27FC236}">
                <a16:creationId xmlns:a16="http://schemas.microsoft.com/office/drawing/2014/main" id="{7A0DE36F-47A9-4871-868B-BB20DB94B86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670" r="32097"/>
          <a:stretch/>
        </p:blipFill>
        <p:spPr>
          <a:xfrm>
            <a:off x="2639688" y="3355087"/>
            <a:ext cx="2249551" cy="2817205"/>
          </a:xfrm>
          <a:prstGeom prst="rect">
            <a:avLst/>
          </a:prstGeom>
        </p:spPr>
      </p:pic>
      <p:pic>
        <p:nvPicPr>
          <p:cNvPr id="7" name="Picture 6" descr="A picture containing text, indoor&#10;&#10;Description automatically generated">
            <a:extLst>
              <a:ext uri="{FF2B5EF4-FFF2-40B4-BE49-F238E27FC236}">
                <a16:creationId xmlns:a16="http://schemas.microsoft.com/office/drawing/2014/main" id="{C56E3013-5CB2-4EF3-8BB5-FEB6CC267B6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44922"/>
          <a:stretch/>
        </p:blipFill>
        <p:spPr>
          <a:xfrm>
            <a:off x="7312404" y="3341144"/>
            <a:ext cx="2239904" cy="2711197"/>
          </a:xfrm>
          <a:prstGeom prst="rect">
            <a:avLst/>
          </a:prstGeom>
        </p:spPr>
      </p:pic>
      <p:pic>
        <p:nvPicPr>
          <p:cNvPr id="117" name="Picture 116">
            <a:extLst>
              <a:ext uri="{FF2B5EF4-FFF2-40B4-BE49-F238E27FC236}">
                <a16:creationId xmlns:a16="http://schemas.microsoft.com/office/drawing/2014/main" id="{232EEFDF-85BD-4590-8AF0-9222F198274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9648763"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3" name="Picture 112" descr="A person sitting at a table&#10;&#10;Description automatically generated">
            <a:extLst>
              <a:ext uri="{FF2B5EF4-FFF2-40B4-BE49-F238E27FC236}">
                <a16:creationId xmlns:a16="http://schemas.microsoft.com/office/drawing/2014/main" id="{3BBCF65A-AD72-43D0-98E6-662E2BD6ABB8}"/>
              </a:ext>
            </a:extLst>
          </p:cNvPr>
          <p:cNvPicPr>
            <a:picLocks/>
          </p:cNvPicPr>
          <p:nvPr/>
        </p:nvPicPr>
        <p:blipFill rotWithShape="1">
          <a:blip r:embed="rId9" cstate="print">
            <a:extLst>
              <a:ext uri="{28A0092B-C50C-407E-A947-70E740481C1C}">
                <a14:useLocalDpi xmlns:a14="http://schemas.microsoft.com/office/drawing/2010/main" val="0"/>
              </a:ext>
            </a:extLst>
          </a:blip>
          <a:srcRect b="-24"/>
          <a:stretch/>
        </p:blipFill>
        <p:spPr>
          <a:xfrm>
            <a:off x="303333"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5" name="Picture 114" descr="A hand holding a cellphone&#10;&#10;Description automatically generated">
            <a:extLst>
              <a:ext uri="{FF2B5EF4-FFF2-40B4-BE49-F238E27FC236}">
                <a16:creationId xmlns:a16="http://schemas.microsoft.com/office/drawing/2014/main" id="{936EB027-1868-4FD0-A22B-A276967DFBB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976048"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graphicFrame>
        <p:nvGraphicFramePr>
          <p:cNvPr id="5" name="Object 4" hidden="1">
            <a:extLst>
              <a:ext uri="{FF2B5EF4-FFF2-40B4-BE49-F238E27FC236}">
                <a16:creationId xmlns:a16="http://schemas.microsoft.com/office/drawing/2014/main" id="{C69893DB-971F-4208-8522-269D40C42B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7985" name="think-cell Slide" r:id="rId11" imgW="425" imgH="424" progId="TCLayout.ActiveDocument.1">
                  <p:embed/>
                </p:oleObj>
              </mc:Choice>
              <mc:Fallback>
                <p:oleObj name="think-cell Slide" r:id="rId11" imgW="425" imgH="424" progId="TCLayout.ActiveDocument.1">
                  <p:embed/>
                  <p:pic>
                    <p:nvPicPr>
                      <p:cNvPr id="5" name="Object 4" hidden="1">
                        <a:extLst>
                          <a:ext uri="{FF2B5EF4-FFF2-40B4-BE49-F238E27FC236}">
                            <a16:creationId xmlns:a16="http://schemas.microsoft.com/office/drawing/2014/main" id="{C69893DB-971F-4208-8522-269D40C42BB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4A901E-9562-4467-AAD5-B524710AD094}"/>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72" name="Rectangle 71">
            <a:extLst>
              <a:ext uri="{FF2B5EF4-FFF2-40B4-BE49-F238E27FC236}">
                <a16:creationId xmlns:a16="http://schemas.microsoft.com/office/drawing/2014/main" id="{3608271B-FE1D-4F9B-94CF-C97E5DBC6441}"/>
              </a:ext>
            </a:extLst>
          </p:cNvPr>
          <p:cNvSpPr>
            <a:spLocks/>
          </p:cNvSpPr>
          <p:nvPr/>
        </p:nvSpPr>
        <p:spPr bwMode="auto">
          <a:xfrm>
            <a:off x="303334" y="1166648"/>
            <a:ext cx="11594980" cy="2096813"/>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solidFill>
                  <a:schemeClr val="bg1"/>
                </a:solidFill>
                <a:latin typeface="+mj-lt"/>
                <a:cs typeface="Segoe UI" panose="020B0502040204020203" pitchFamily="34" charset="0"/>
              </a:rPr>
              <a:t>Packaging and Pricing</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solidFill>
                  <a:schemeClr val="bg1"/>
                </a:solidFill>
                <a:latin typeface="+mj-lt"/>
                <a:cs typeface="Segoe UI" panose="020B0502040204020203" pitchFamily="34" charset="0"/>
              </a:rPr>
              <a:t>Features and Solution Dependencies</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solidFill>
                  <a:schemeClr val="bg1"/>
                </a:solidFill>
                <a:latin typeface="+mj-lt"/>
                <a:cs typeface="Segoe UI" panose="020B0502040204020203" pitchFamily="34" charset="0"/>
              </a:rPr>
              <a:t>Introduction to Microsoft Cloud Solution Center</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solidFill>
                  <a:schemeClr val="bg1"/>
                </a:solidFill>
                <a:latin typeface="+mj-lt"/>
                <a:cs typeface="Segoe UI" panose="020B0502040204020203" pitchFamily="34" charset="0"/>
              </a:rPr>
              <a:t>Post deployment configurations</a:t>
            </a:r>
          </a:p>
        </p:txBody>
      </p:sp>
      <p:sp>
        <p:nvSpPr>
          <p:cNvPr id="18" name="Title 3">
            <a:extLst>
              <a:ext uri="{FF2B5EF4-FFF2-40B4-BE49-F238E27FC236}">
                <a16:creationId xmlns:a16="http://schemas.microsoft.com/office/drawing/2014/main" id="{85B56723-4DF9-47FC-89E0-C6FD5F77F244}"/>
              </a:ext>
            </a:extLst>
          </p:cNvPr>
          <p:cNvSpPr txBox="1">
            <a:spLocks/>
          </p:cNvSpPr>
          <p:nvPr/>
        </p:nvSpPr>
        <p:spPr>
          <a:xfrm>
            <a:off x="588263" y="457200"/>
            <a:ext cx="11018520" cy="430887"/>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800" dirty="0">
                <a:solidFill>
                  <a:schemeClr val="accent1"/>
                </a:solidFill>
              </a:rPr>
              <a:t>Know the Solution</a:t>
            </a:r>
          </a:p>
        </p:txBody>
      </p:sp>
    </p:spTree>
    <p:extLst>
      <p:ext uri="{BB962C8B-B14F-4D97-AF65-F5344CB8AC3E}">
        <p14:creationId xmlns:p14="http://schemas.microsoft.com/office/powerpoint/2010/main" val="3239710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9893DB-971F-4208-8522-269D40C42B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07"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C69893DB-971F-4208-8522-269D40C42BB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4A901E-9562-4467-AAD5-B524710AD094}"/>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8" name="Title 3">
            <a:extLst>
              <a:ext uri="{FF2B5EF4-FFF2-40B4-BE49-F238E27FC236}">
                <a16:creationId xmlns:a16="http://schemas.microsoft.com/office/drawing/2014/main" id="{85B56723-4DF9-47FC-89E0-C6FD5F77F244}"/>
              </a:ext>
            </a:extLst>
          </p:cNvPr>
          <p:cNvSpPr txBox="1">
            <a:spLocks/>
          </p:cNvSpPr>
          <p:nvPr/>
        </p:nvSpPr>
        <p:spPr>
          <a:xfrm>
            <a:off x="588263" y="457200"/>
            <a:ext cx="11018520" cy="430887"/>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800" dirty="0">
                <a:solidFill>
                  <a:schemeClr val="accent1"/>
                </a:solidFill>
              </a:rPr>
              <a:t>Getting Started</a:t>
            </a:r>
          </a:p>
        </p:txBody>
      </p:sp>
      <p:sp>
        <p:nvSpPr>
          <p:cNvPr id="24" name="Arrow: Right 23">
            <a:extLst>
              <a:ext uri="{FF2B5EF4-FFF2-40B4-BE49-F238E27FC236}">
                <a16:creationId xmlns:a16="http://schemas.microsoft.com/office/drawing/2014/main" id="{4987C8A7-081C-483F-B929-F85BB9402722}"/>
              </a:ext>
              <a:ext uri="{C183D7F6-B498-43B3-948B-1728B52AA6E4}">
                <adec:decorative xmlns:adec="http://schemas.microsoft.com/office/drawing/2017/decorative" val="1"/>
              </a:ext>
            </a:extLst>
          </p:cNvPr>
          <p:cNvSpPr/>
          <p:nvPr/>
        </p:nvSpPr>
        <p:spPr>
          <a:xfrm>
            <a:off x="1035040" y="1672890"/>
            <a:ext cx="10121919" cy="5025710"/>
          </a:xfrm>
          <a:prstGeom prst="rightArrow">
            <a:avLst/>
          </a:prstGeom>
          <a:solidFill>
            <a:srgbClr val="0078D4"/>
          </a:solidFill>
        </p:spPr>
        <p:style>
          <a:lnRef idx="0">
            <a:schemeClr val="accent5">
              <a:hueOff val="0"/>
              <a:satOff val="0"/>
              <a:lumOff val="0"/>
              <a:alphaOff val="0"/>
            </a:schemeClr>
          </a:lnRef>
          <a:fillRef idx="1">
            <a:schemeClr val="accent5">
              <a:tint val="40000"/>
              <a:hueOff val="0"/>
              <a:satOff val="0"/>
              <a:lumOff val="0"/>
              <a:alphaOff val="0"/>
            </a:schemeClr>
          </a:fillRef>
          <a:effectRef idx="2">
            <a:schemeClr val="accent5">
              <a:tint val="40000"/>
              <a:hueOff val="0"/>
              <a:satOff val="0"/>
              <a:lumOff val="0"/>
              <a:alphaOff val="0"/>
            </a:schemeClr>
          </a:effectRef>
          <a:fontRef idx="minor">
            <a:schemeClr val="dk1">
              <a:hueOff val="0"/>
              <a:satOff val="0"/>
              <a:lumOff val="0"/>
              <a:alphaOff val="0"/>
            </a:schemeClr>
          </a:fontRef>
        </p:style>
      </p:sp>
      <p:sp>
        <p:nvSpPr>
          <p:cNvPr id="26" name="Rectangle: Rounded Corners 25" descr="Select Microsoft cloud for Healthcare capabilities for your enterprise">
            <a:extLst>
              <a:ext uri="{FF2B5EF4-FFF2-40B4-BE49-F238E27FC236}">
                <a16:creationId xmlns:a16="http://schemas.microsoft.com/office/drawing/2014/main" id="{68037F03-EF5F-4F24-B5C9-348B7266364F}"/>
              </a:ext>
            </a:extLst>
          </p:cNvPr>
          <p:cNvSpPr/>
          <p:nvPr/>
        </p:nvSpPr>
        <p:spPr>
          <a:xfrm>
            <a:off x="147889" y="3180603"/>
            <a:ext cx="2866559" cy="2010284"/>
          </a:xfrm>
          <a:prstGeom prst="roundRect">
            <a:avLst/>
          </a:prstGeom>
          <a:solidFill>
            <a:srgbClr val="FFFFFF"/>
          </a:solidFill>
        </p:spPr>
        <p:style>
          <a:lnRef idx="0">
            <a:schemeClr val="accent5">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sp>
      <p:sp>
        <p:nvSpPr>
          <p:cNvPr id="28" name="Rectangle: Rounded Corners 27" descr="Purchase Microsoft for Healthcare license&#10;Obtain licenses for other Dynamics, M365 and Azure  components as per dependencies of your selected features&#10;">
            <a:extLst>
              <a:ext uri="{FF2B5EF4-FFF2-40B4-BE49-F238E27FC236}">
                <a16:creationId xmlns:a16="http://schemas.microsoft.com/office/drawing/2014/main" id="{D6932279-F2EF-4013-ADFD-2B63B2EDE9B5}"/>
              </a:ext>
            </a:extLst>
          </p:cNvPr>
          <p:cNvSpPr/>
          <p:nvPr/>
        </p:nvSpPr>
        <p:spPr>
          <a:xfrm>
            <a:off x="3157776" y="3180603"/>
            <a:ext cx="2866559" cy="2010284"/>
          </a:xfrm>
          <a:prstGeom prst="roundRect">
            <a:avLst/>
          </a:prstGeom>
          <a:solidFill>
            <a:schemeClr val="bg1"/>
          </a:solidFill>
        </p:spPr>
        <p:style>
          <a:lnRef idx="0">
            <a:schemeClr val="accent5">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sp>
      <p:sp>
        <p:nvSpPr>
          <p:cNvPr id="30" name="Rectangle: Rounded Corners 29" descr="Dynamics components through Solution Center&#10;Azure components through Azure Portal&#10;M365 components through M365 admin center &#10;">
            <a:extLst>
              <a:ext uri="{FF2B5EF4-FFF2-40B4-BE49-F238E27FC236}">
                <a16:creationId xmlns:a16="http://schemas.microsoft.com/office/drawing/2014/main" id="{BF04A3B8-5808-4263-84C9-D4197ED210A1}"/>
              </a:ext>
            </a:extLst>
          </p:cNvPr>
          <p:cNvSpPr/>
          <p:nvPr/>
        </p:nvSpPr>
        <p:spPr>
          <a:xfrm>
            <a:off x="6167663" y="3180603"/>
            <a:ext cx="2866559" cy="2010284"/>
          </a:xfrm>
          <a:prstGeom prst="roundRect">
            <a:avLst/>
          </a:prstGeom>
          <a:solidFill>
            <a:srgbClr val="FFFFFF"/>
          </a:solidFill>
        </p:spPr>
        <p:style>
          <a:lnRef idx="0">
            <a:schemeClr val="accent5">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sp>
      <p:sp>
        <p:nvSpPr>
          <p:cNvPr id="32" name="Rectangle: Rounded Corners 31" descr="Solution-wise configurations for each module&#10;">
            <a:extLst>
              <a:ext uri="{FF2B5EF4-FFF2-40B4-BE49-F238E27FC236}">
                <a16:creationId xmlns:a16="http://schemas.microsoft.com/office/drawing/2014/main" id="{55822915-B88C-4F97-AA70-6ACA850BC7EE}"/>
              </a:ext>
            </a:extLst>
          </p:cNvPr>
          <p:cNvSpPr/>
          <p:nvPr/>
        </p:nvSpPr>
        <p:spPr>
          <a:xfrm>
            <a:off x="9177551" y="3180603"/>
            <a:ext cx="2866559" cy="2010284"/>
          </a:xfrm>
          <a:prstGeom prst="roundRect">
            <a:avLst/>
          </a:prstGeom>
          <a:solidFill>
            <a:srgbClr val="FFFFFF"/>
          </a:solidFill>
        </p:spPr>
        <p:style>
          <a:lnRef idx="0">
            <a:schemeClr val="accent5">
              <a:shade val="80000"/>
              <a:hueOff val="0"/>
              <a:satOff val="0"/>
              <a:lumOff val="0"/>
              <a:alphaOff val="0"/>
            </a:schemeClr>
          </a:lnRef>
          <a:fillRef idx="3">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sp>
      <p:sp>
        <p:nvSpPr>
          <p:cNvPr id="34" name="Oval 33">
            <a:extLst>
              <a:ext uri="{FF2B5EF4-FFF2-40B4-BE49-F238E27FC236}">
                <a16:creationId xmlns:a16="http://schemas.microsoft.com/office/drawing/2014/main" id="{0DE4F5C2-E4BD-46DB-961C-6EEC4EA08739}"/>
              </a:ext>
            </a:extLst>
          </p:cNvPr>
          <p:cNvSpPr/>
          <p:nvPr/>
        </p:nvSpPr>
        <p:spPr bwMode="auto">
          <a:xfrm>
            <a:off x="256218" y="2861832"/>
            <a:ext cx="365760" cy="365760"/>
          </a:xfrm>
          <a:prstGeom prst="ellipse">
            <a:avLst/>
          </a:prstGeom>
          <a:solidFill>
            <a:schemeClr val="bg2">
              <a:lumMod val="50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1</a:t>
            </a:r>
          </a:p>
        </p:txBody>
      </p:sp>
      <p:sp>
        <p:nvSpPr>
          <p:cNvPr id="36" name="Oval 35">
            <a:extLst>
              <a:ext uri="{FF2B5EF4-FFF2-40B4-BE49-F238E27FC236}">
                <a16:creationId xmlns:a16="http://schemas.microsoft.com/office/drawing/2014/main" id="{05B3B00D-16C8-415C-BCFD-82C24AFFCB5F}"/>
              </a:ext>
            </a:extLst>
          </p:cNvPr>
          <p:cNvSpPr/>
          <p:nvPr/>
        </p:nvSpPr>
        <p:spPr bwMode="auto">
          <a:xfrm>
            <a:off x="3272668" y="2861832"/>
            <a:ext cx="365760" cy="365760"/>
          </a:xfrm>
          <a:prstGeom prst="ellipse">
            <a:avLst/>
          </a:prstGeom>
          <a:solidFill>
            <a:schemeClr val="bg2">
              <a:lumMod val="50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2</a:t>
            </a:r>
          </a:p>
        </p:txBody>
      </p:sp>
      <p:sp>
        <p:nvSpPr>
          <p:cNvPr id="38" name="Oval 37">
            <a:extLst>
              <a:ext uri="{FF2B5EF4-FFF2-40B4-BE49-F238E27FC236}">
                <a16:creationId xmlns:a16="http://schemas.microsoft.com/office/drawing/2014/main" id="{7A35FB72-70B9-4599-BB29-116BB2B28999}"/>
              </a:ext>
            </a:extLst>
          </p:cNvPr>
          <p:cNvSpPr/>
          <p:nvPr/>
        </p:nvSpPr>
        <p:spPr bwMode="auto">
          <a:xfrm>
            <a:off x="6233277" y="2861832"/>
            <a:ext cx="365760" cy="365760"/>
          </a:xfrm>
          <a:prstGeom prst="ellipse">
            <a:avLst/>
          </a:prstGeom>
          <a:solidFill>
            <a:schemeClr val="bg2">
              <a:lumMod val="50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kern="0">
                <a:solidFill>
                  <a:srgbClr val="FFFFFF"/>
                </a:solidFill>
                <a:latin typeface="Segoe UI Semibold"/>
                <a:cs typeface="Segoe UI" pitchFamily="34" charset="0"/>
              </a:rPr>
              <a:t>3</a:t>
            </a:r>
            <a:endPar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40" name="Oval 39">
            <a:extLst>
              <a:ext uri="{FF2B5EF4-FFF2-40B4-BE49-F238E27FC236}">
                <a16:creationId xmlns:a16="http://schemas.microsoft.com/office/drawing/2014/main" id="{49B85061-EB65-4E62-80E8-98E73025F545}"/>
              </a:ext>
            </a:extLst>
          </p:cNvPr>
          <p:cNvSpPr/>
          <p:nvPr/>
        </p:nvSpPr>
        <p:spPr bwMode="auto">
          <a:xfrm>
            <a:off x="9301054" y="2861832"/>
            <a:ext cx="365760" cy="365760"/>
          </a:xfrm>
          <a:prstGeom prst="ellipse">
            <a:avLst/>
          </a:prstGeom>
          <a:solidFill>
            <a:schemeClr val="bg2">
              <a:lumMod val="50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kern="0">
                <a:solidFill>
                  <a:srgbClr val="FFFFFF"/>
                </a:solidFill>
                <a:latin typeface="Segoe UI Semibold"/>
                <a:cs typeface="Segoe UI" pitchFamily="34" charset="0"/>
              </a:rPr>
              <a:t>4</a:t>
            </a:r>
            <a:endPar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42" name="Rectangle: Rounded Corners 4" descr="Select Microsoft Cloud for healthcare capabilities for your enterprise&#10;">
            <a:extLst>
              <a:ext uri="{FF2B5EF4-FFF2-40B4-BE49-F238E27FC236}">
                <a16:creationId xmlns:a16="http://schemas.microsoft.com/office/drawing/2014/main" id="{DFA93C38-B367-47BE-95A8-A7459393673D}"/>
              </a:ext>
            </a:extLst>
          </p:cNvPr>
          <p:cNvSpPr txBox="1"/>
          <p:nvPr/>
        </p:nvSpPr>
        <p:spPr>
          <a:xfrm>
            <a:off x="280954" y="3284630"/>
            <a:ext cx="2670291" cy="181401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b="1" kern="1200" dirty="0"/>
              <a:t>SELECT</a:t>
            </a:r>
          </a:p>
          <a:p>
            <a:pPr marL="114300" lvl="1" indent="-114300" algn="l" defTabSz="577850">
              <a:lnSpc>
                <a:spcPts val="1600"/>
              </a:lnSpc>
              <a:spcBef>
                <a:spcPct val="0"/>
              </a:spcBef>
              <a:spcAft>
                <a:spcPct val="15000"/>
              </a:spcAft>
              <a:buChar char="•"/>
            </a:pPr>
            <a:r>
              <a:rPr lang="en-US" sz="1300" kern="1200" dirty="0"/>
              <a:t> Select Microsoft Cloud for Financial Services capabilities for your enterprise</a:t>
            </a:r>
          </a:p>
        </p:txBody>
      </p:sp>
      <p:sp>
        <p:nvSpPr>
          <p:cNvPr id="44" name="Rectangle: Rounded Corners 4" descr="Purchase Microsoft for Healthcare license&#10;Obtain licenses for other Dynamics, M365 and Azure  components as per dependencies of your selected features">
            <a:extLst>
              <a:ext uri="{FF2B5EF4-FFF2-40B4-BE49-F238E27FC236}">
                <a16:creationId xmlns:a16="http://schemas.microsoft.com/office/drawing/2014/main" id="{A05E7D54-A857-4224-99CA-BC904C9AADCB}"/>
              </a:ext>
            </a:extLst>
          </p:cNvPr>
          <p:cNvSpPr txBox="1"/>
          <p:nvPr/>
        </p:nvSpPr>
        <p:spPr>
          <a:xfrm>
            <a:off x="3308307" y="3277456"/>
            <a:ext cx="2757878" cy="181552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b="1" kern="1200" dirty="0"/>
              <a:t>PROCURE</a:t>
            </a:r>
          </a:p>
          <a:p>
            <a:pPr marL="114300" lvl="1" indent="-114300" algn="l" defTabSz="577850">
              <a:lnSpc>
                <a:spcPts val="1600"/>
              </a:lnSpc>
              <a:spcBef>
                <a:spcPct val="0"/>
              </a:spcBef>
              <a:spcAft>
                <a:spcPct val="15000"/>
              </a:spcAft>
              <a:buChar char="•"/>
            </a:pPr>
            <a:r>
              <a:rPr lang="en-US" sz="1300" kern="1200" dirty="0"/>
              <a:t>Purchase Microsoft </a:t>
            </a:r>
            <a:r>
              <a:rPr lang="en-US" sz="1300" dirty="0"/>
              <a:t>Cloud for Financial Services </a:t>
            </a:r>
            <a:r>
              <a:rPr lang="en-US" sz="1300" kern="1200" dirty="0"/>
              <a:t>license</a:t>
            </a:r>
          </a:p>
          <a:p>
            <a:pPr marL="114300" lvl="1" indent="-114300" algn="l" defTabSz="577850">
              <a:lnSpc>
                <a:spcPts val="1600"/>
              </a:lnSpc>
              <a:spcBef>
                <a:spcPct val="0"/>
              </a:spcBef>
              <a:spcAft>
                <a:spcPct val="15000"/>
              </a:spcAft>
              <a:buChar char="•"/>
            </a:pPr>
            <a:r>
              <a:rPr lang="en-US" sz="1300" kern="1200" dirty="0"/>
              <a:t>Obtain licenses for other Dynamics 365, Power Platform  and Microsoft 365 components as needed for dependencies of selected features</a:t>
            </a:r>
          </a:p>
        </p:txBody>
      </p:sp>
      <p:sp>
        <p:nvSpPr>
          <p:cNvPr id="46" name="Rectangle: Rounded Corners 4">
            <a:extLst>
              <a:ext uri="{FF2B5EF4-FFF2-40B4-BE49-F238E27FC236}">
                <a16:creationId xmlns:a16="http://schemas.microsoft.com/office/drawing/2014/main" id="{29FE2819-BD61-46FC-9EE5-CBD232AF29A4}"/>
              </a:ext>
            </a:extLst>
          </p:cNvPr>
          <p:cNvSpPr txBox="1"/>
          <p:nvPr/>
        </p:nvSpPr>
        <p:spPr>
          <a:xfrm>
            <a:off x="6262453" y="3278964"/>
            <a:ext cx="2670291" cy="181401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770" tIns="64770" rIns="64770" bIns="64770" numCol="1" spcCol="1270" anchor="t" anchorCtr="0">
            <a:noAutofit/>
          </a:bodyPr>
          <a:lstStyle/>
          <a:p>
            <a:pPr marL="0" lvl="0" indent="0" algn="l" defTabSz="755650">
              <a:lnSpc>
                <a:spcPts val="1600"/>
              </a:lnSpc>
              <a:spcBef>
                <a:spcPct val="0"/>
              </a:spcBef>
              <a:spcAft>
                <a:spcPct val="35000"/>
              </a:spcAft>
              <a:buNone/>
            </a:pPr>
            <a:r>
              <a:rPr lang="en-US" sz="1700" b="1" kern="1200" dirty="0"/>
              <a:t>DEPLOY</a:t>
            </a:r>
          </a:p>
          <a:p>
            <a:pPr marL="114300" lvl="1" indent="-114300" algn="l" defTabSz="577850">
              <a:lnSpc>
                <a:spcPts val="1600"/>
              </a:lnSpc>
              <a:spcBef>
                <a:spcPct val="0"/>
              </a:spcBef>
              <a:spcAft>
                <a:spcPct val="15000"/>
              </a:spcAft>
              <a:buChar char="•"/>
            </a:pPr>
            <a:r>
              <a:rPr lang="en-US" sz="1300" kern="1200" dirty="0"/>
              <a:t>Dynamics , Power Platform and M365 components through Microsoft Cloud Solution Center</a:t>
            </a:r>
          </a:p>
        </p:txBody>
      </p:sp>
      <p:sp>
        <p:nvSpPr>
          <p:cNvPr id="48" name="Rectangle: Rounded Corners 4">
            <a:extLst>
              <a:ext uri="{FF2B5EF4-FFF2-40B4-BE49-F238E27FC236}">
                <a16:creationId xmlns:a16="http://schemas.microsoft.com/office/drawing/2014/main" id="{009C6111-A42E-43FD-9ECD-28CBFC2ABB22}"/>
              </a:ext>
            </a:extLst>
          </p:cNvPr>
          <p:cNvSpPr txBox="1"/>
          <p:nvPr/>
        </p:nvSpPr>
        <p:spPr>
          <a:xfrm>
            <a:off x="9301054" y="3284630"/>
            <a:ext cx="2670291" cy="181401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b="1" kern="1200" dirty="0"/>
              <a:t>CONFIGURE</a:t>
            </a:r>
          </a:p>
          <a:p>
            <a:pPr marL="114300" lvl="1" indent="-114300" algn="l" defTabSz="577850">
              <a:lnSpc>
                <a:spcPts val="1600"/>
              </a:lnSpc>
              <a:spcBef>
                <a:spcPct val="0"/>
              </a:spcBef>
              <a:spcAft>
                <a:spcPct val="15000"/>
              </a:spcAft>
              <a:buChar char="•"/>
            </a:pPr>
            <a:r>
              <a:rPr lang="en-US" sz="1300" kern="1200" dirty="0"/>
              <a:t>Solution configurations for each module</a:t>
            </a:r>
          </a:p>
        </p:txBody>
      </p:sp>
    </p:spTree>
    <p:extLst>
      <p:ext uri="{BB962C8B-B14F-4D97-AF65-F5344CB8AC3E}">
        <p14:creationId xmlns:p14="http://schemas.microsoft.com/office/powerpoint/2010/main" val="19703647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230624" y="269945"/>
            <a:ext cx="11018520" cy="430887"/>
          </a:xfrm>
        </p:spPr>
        <p:txBody>
          <a:bodyPr/>
          <a:lstStyle/>
          <a:p>
            <a:pPr lvl="0" algn="l"/>
            <a:r>
              <a:rPr kumimoji="0" lang="en-US" sz="28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Select and Procure | </a:t>
            </a:r>
            <a:r>
              <a:rPr kumimoji="0" lang="en-US" sz="28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loud for Financial Services</a:t>
            </a:r>
            <a:endParaRPr lang="en-US" sz="2400" dirty="0">
              <a:solidFill>
                <a:srgbClr val="000000"/>
              </a:solidFill>
              <a:latin typeface="Segoe UI Semibold"/>
            </a:endParaRPr>
          </a:p>
        </p:txBody>
      </p:sp>
      <p:graphicFrame>
        <p:nvGraphicFramePr>
          <p:cNvPr id="188" name="Group 3">
            <a:extLst>
              <a:ext uri="{FF2B5EF4-FFF2-40B4-BE49-F238E27FC236}">
                <a16:creationId xmlns:a16="http://schemas.microsoft.com/office/drawing/2014/main" id="{D0258D0C-A154-4D93-A725-7662262F56D4}"/>
              </a:ext>
            </a:extLst>
          </p:cNvPr>
          <p:cNvGraphicFramePr>
            <a:graphicFrameLocks/>
          </p:cNvGraphicFramePr>
          <p:nvPr>
            <p:custDataLst>
              <p:tags r:id="rId1"/>
            </p:custDataLst>
            <p:extLst>
              <p:ext uri="{D42A27DB-BD31-4B8C-83A1-F6EECF244321}">
                <p14:modId xmlns:p14="http://schemas.microsoft.com/office/powerpoint/2010/main" val="294286938"/>
              </p:ext>
            </p:extLst>
          </p:nvPr>
        </p:nvGraphicFramePr>
        <p:xfrm>
          <a:off x="499811" y="1475198"/>
          <a:ext cx="8575829" cy="5020776"/>
        </p:xfrm>
        <a:graphic>
          <a:graphicData uri="http://schemas.openxmlformats.org/drawingml/2006/table">
            <a:tbl>
              <a:tblPr/>
              <a:tblGrid>
                <a:gridCol w="3017520">
                  <a:extLst>
                    <a:ext uri="{9D8B030D-6E8A-4147-A177-3AD203B41FA5}">
                      <a16:colId xmlns:a16="http://schemas.microsoft.com/office/drawing/2014/main" val="1397959398"/>
                    </a:ext>
                  </a:extLst>
                </a:gridCol>
                <a:gridCol w="2468880">
                  <a:extLst>
                    <a:ext uri="{9D8B030D-6E8A-4147-A177-3AD203B41FA5}">
                      <a16:colId xmlns:a16="http://schemas.microsoft.com/office/drawing/2014/main" val="2364163942"/>
                    </a:ext>
                  </a:extLst>
                </a:gridCol>
                <a:gridCol w="3089429">
                  <a:extLst>
                    <a:ext uri="{9D8B030D-6E8A-4147-A177-3AD203B41FA5}">
                      <a16:colId xmlns:a16="http://schemas.microsoft.com/office/drawing/2014/main" val="3061270535"/>
                    </a:ext>
                  </a:extLst>
                </a:gridCol>
              </a:tblGrid>
              <a:tr h="592623">
                <a:tc gridSpan="2">
                  <a:txBody>
                    <a:bodyPr/>
                    <a:lstStyle/>
                    <a:p>
                      <a:pPr marL="0" marR="0" lvl="0" indent="0" algn="l" defTabSz="932742" rtl="0" eaLnBrk="1" fontAlgn="base" latinLnBrk="0" hangingPunct="1">
                        <a:lnSpc>
                          <a:spcPct val="106000"/>
                        </a:lnSpc>
                        <a:spcBef>
                          <a:spcPts val="0"/>
                        </a:spcBef>
                        <a:spcAft>
                          <a:spcPct val="0"/>
                        </a:spcAft>
                        <a:buClrTx/>
                        <a:buSzTx/>
                        <a:buFont typeface="Arial" panose="020B0604020202020204" pitchFamily="34" charset="0"/>
                        <a:buNone/>
                        <a:tabLst/>
                        <a:defRPr/>
                      </a:pPr>
                      <a:r>
                        <a:rPr kumimoji="0" lang="en-US" sz="1600" b="1" i="0" u="none" strike="noStrike" kern="1200" cap="none" normalizeH="0" baseline="0" dirty="0">
                          <a:ln>
                            <a:noFill/>
                          </a:ln>
                          <a:solidFill>
                            <a:srgbClr val="0078D4"/>
                          </a:solidFill>
                          <a:effectLst/>
                          <a:latin typeface="Segoe UI Semibold" panose="020B0702040204020203" pitchFamily="34" charset="0"/>
                          <a:ea typeface="+mn-ea"/>
                          <a:cs typeface="Segoe UI Semibold" panose="020B0702040204020203" pitchFamily="34" charset="0"/>
                        </a:rPr>
                        <a:t>Microsoft Cloud for FSI</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hMerge="1">
                  <a:txBody>
                    <a:bodyPr/>
                    <a:lstStyle/>
                    <a:p>
                      <a:endParaRPr lang="en-US"/>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200"/>
                        </a:spcAft>
                        <a:buClr>
                          <a:schemeClr val="tx1"/>
                        </a:buClr>
                        <a:buSzTx/>
                        <a:buFont typeface="Arial" panose="020B0604020202020204" pitchFamily="34" charset="0"/>
                        <a:buNone/>
                        <a:tabLst/>
                      </a:pPr>
                      <a:r>
                        <a:rPr kumimoji="0" lang="en-US" sz="1200" b="1" i="0" u="none" strike="noStrike" kern="1200" cap="none" normalizeH="0" baseline="0">
                          <a:ln>
                            <a:noFill/>
                          </a:ln>
                          <a:solidFill>
                            <a:schemeClr val="bg1"/>
                          </a:solidFill>
                          <a:effectLst/>
                          <a:latin typeface="+mj-lt"/>
                          <a:ea typeface="+mn-ea"/>
                          <a:cs typeface="Segoe UI" panose="020B0502040204020203" pitchFamily="34" charset="0"/>
                        </a:rPr>
                        <a:t>Per Tenant</a:t>
                      </a:r>
                    </a:p>
                    <a:p>
                      <a:pPr marL="0" marR="0" lvl="0" indent="0" algn="ctr" defTabSz="914400" rtl="0" eaLnBrk="1" fontAlgn="base" latinLnBrk="0" hangingPunct="1">
                        <a:lnSpc>
                          <a:spcPct val="100000"/>
                        </a:lnSpc>
                        <a:spcBef>
                          <a:spcPts val="0"/>
                        </a:spcBef>
                        <a:spcAft>
                          <a:spcPts val="200"/>
                        </a:spcAft>
                        <a:buClr>
                          <a:schemeClr val="tx1"/>
                        </a:buClr>
                        <a:buSzTx/>
                        <a:buFont typeface="Arial" panose="020B0604020202020204" pitchFamily="34" charset="0"/>
                        <a:buNone/>
                        <a:tabLst/>
                      </a:pPr>
                      <a:r>
                        <a:rPr kumimoji="0" lang="en-US" sz="1200" b="1" i="0" u="none" strike="noStrike" kern="1200" cap="none" normalizeH="0" baseline="0">
                          <a:ln>
                            <a:noFill/>
                          </a:ln>
                          <a:solidFill>
                            <a:schemeClr val="bg1"/>
                          </a:solidFill>
                          <a:effectLst/>
                          <a:latin typeface="+mj-lt"/>
                          <a:ea typeface="+mn-ea"/>
                          <a:cs typeface="Segoe UI" panose="020B0502040204020203" pitchFamily="34" charset="0"/>
                        </a:rPr>
                        <a:t>$20,000 per month</a:t>
                      </a:r>
                    </a:p>
                  </a:txBody>
                  <a:tcPr marL="0" marR="0" horzOverflow="overflow">
                    <a:lnL w="6350" cap="flat" cmpd="sng" algn="ctr">
                      <a:solidFill>
                        <a:schemeClr val="bg1">
                          <a:lumMod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10000"/>
                  </a:ext>
                </a:extLst>
              </a:tr>
              <a:tr h="431014">
                <a:tc rowSpan="4">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1" i="0" u="none" strike="noStrike" kern="1200" cap="none" normalizeH="0" baseline="0">
                          <a:ln>
                            <a:noFill/>
                          </a:ln>
                          <a:solidFill>
                            <a:schemeClr val="bg1"/>
                          </a:solidFill>
                          <a:effectLst/>
                          <a:latin typeface="+mn-lt"/>
                          <a:ea typeface="+mn-ea"/>
                          <a:cs typeface="Segoe UI" panose="020B0502040204020203" pitchFamily="34" charset="0"/>
                        </a:rPr>
                        <a:t>Purpose-built Industry IP</a:t>
                      </a:r>
                    </a:p>
                  </a:txBody>
                  <a:tcPr marL="7315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Unified customer profile</a:t>
                      </a:r>
                      <a:endParaRPr kumimoji="0" lang="en-US" sz="1200" b="0" i="0" u="none" strike="noStrike" kern="1200" cap="none" normalizeH="0" baseline="0">
                        <a:ln>
                          <a:noFill/>
                        </a:ln>
                        <a:solidFill>
                          <a:schemeClr val="tx1"/>
                        </a:solidFill>
                        <a:effectLst/>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endParaRPr>
                    </a:p>
                  </a:txBody>
                  <a:tcPr marL="45720" marR="4572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125789"/>
                  </a:ext>
                </a:extLst>
              </a:tr>
              <a:tr h="431014">
                <a:tc vMerge="1">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endParaRPr kumimoji="0" lang="en-US" sz="1200" b="0" i="0" u="none" strike="noStrike" kern="1200" cap="none" normalizeH="0" baseline="0">
                        <a:ln>
                          <a:noFill/>
                        </a:ln>
                        <a:solidFill>
                          <a:schemeClr val="tx1"/>
                        </a:solidFill>
                        <a:effectLst/>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Banking customer engagement</a:t>
                      </a:r>
                      <a:endParaRPr kumimoji="0" lang="en-US" sz="1200" b="0" i="0" u="none" strike="noStrike" kern="1200" cap="none" normalizeH="0" baseline="0">
                        <a:ln>
                          <a:noFill/>
                        </a:ln>
                        <a:solidFill>
                          <a:schemeClr val="tx1"/>
                        </a:solidFill>
                        <a:effectLst/>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endParaRPr>
                    </a:p>
                  </a:txBody>
                  <a:tcPr marL="45720" marR="4572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8493723"/>
                  </a:ext>
                </a:extLst>
              </a:tr>
              <a:tr h="431014">
                <a:tc vMerge="1">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endParaRPr kumimoji="0" lang="en-US" sz="1200" b="0" i="0" u="none" strike="noStrike" kern="1200" cap="none" normalizeH="0" baseline="0">
                        <a:ln>
                          <a:noFill/>
                        </a:ln>
                        <a:solidFill>
                          <a:schemeClr val="tx1"/>
                        </a:solidFill>
                        <a:effectLst/>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Customer onboarding</a:t>
                      </a:r>
                      <a:endParaRPr kumimoji="0" lang="en-US" sz="1200" b="0" i="0" u="none" strike="noStrike" kern="1200" cap="none" normalizeH="0" baseline="0">
                        <a:ln>
                          <a:noFill/>
                        </a:ln>
                        <a:solidFill>
                          <a:schemeClr val="tx1"/>
                        </a:solidFill>
                        <a:effectLst/>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endParaRPr>
                    </a:p>
                  </a:txBody>
                  <a:tcPr marL="45720" marR="4572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00138"/>
                  </a:ext>
                </a:extLst>
              </a:tr>
              <a:tr h="559317">
                <a:tc vMerge="1">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endParaRPr kumimoji="0" lang="en-US" sz="1200" b="0" i="0" u="none" strike="noStrike" kern="1200" cap="none" normalizeH="0" baseline="0">
                        <a:ln>
                          <a:noFill/>
                        </a:ln>
                        <a:solidFill>
                          <a:schemeClr val="tx1"/>
                        </a:solidFill>
                        <a:effectLst/>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dirty="0">
                          <a:ln>
                            <a:noFill/>
                          </a:ln>
                          <a:solidFill>
                            <a:schemeClr val="tx1"/>
                          </a:solidFill>
                          <a:effectLst/>
                          <a:uLnTx/>
                          <a:uFillTx/>
                          <a:latin typeface="+mn-lt"/>
                          <a:ea typeface="+mn-ea"/>
                          <a:cs typeface="Segoe UI" panose="020B0502040204020203" pitchFamily="34" charset="0"/>
                        </a:rPr>
                        <a:t>Collaboration Manager</a:t>
                      </a:r>
                      <a:endParaRPr kumimoji="0" lang="en-US" sz="1200" b="0" i="0" u="none" strike="noStrike" kern="1200" cap="none" normalizeH="0" baseline="0" dirty="0">
                        <a:ln>
                          <a:noFill/>
                        </a:ln>
                        <a:solidFill>
                          <a:schemeClr val="tx1"/>
                        </a:solidFill>
                        <a:effectLst/>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endParaRPr>
                    </a:p>
                  </a:txBody>
                  <a:tcPr marL="45720" marR="45720"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7655255"/>
                  </a:ext>
                </a:extLst>
              </a:tr>
              <a:tr h="459398">
                <a:tc rowSpan="2">
                  <a:txBody>
                    <a:bodyPr/>
                    <a:lstStyle/>
                    <a:p>
                      <a:pPr marL="0" marR="0" lvl="0" indent="0" algn="l" defTabSz="914400" rtl="0" eaLnBrk="1" fontAlgn="base" latinLnBrk="0" hangingPunct="1">
                        <a:lnSpc>
                          <a:spcPct val="106000"/>
                        </a:lnSpc>
                        <a:spcBef>
                          <a:spcPts val="400"/>
                        </a:spcBef>
                        <a:spcAft>
                          <a:spcPct val="0"/>
                        </a:spcAft>
                        <a:buClr>
                          <a:schemeClr val="tx1"/>
                        </a:buClr>
                        <a:buSzTx/>
                        <a:buFont typeface="Arial" panose="020B0604020202020204" pitchFamily="34" charset="0"/>
                        <a:buNone/>
                        <a:tabLst/>
                        <a:defRPr/>
                      </a:pPr>
                      <a:r>
                        <a:rPr kumimoji="0" lang="en-US" sz="1200" b="1" i="0" u="none" strike="noStrike" kern="1200" cap="none" spc="0" normalizeH="0" baseline="0">
                          <a:ln>
                            <a:noFill/>
                          </a:ln>
                          <a:solidFill>
                            <a:schemeClr val="bg1"/>
                          </a:solidFill>
                          <a:effectLst/>
                          <a:uLnTx/>
                          <a:uFillTx/>
                          <a:latin typeface="+mn-lt"/>
                          <a:ea typeface="+mn-ea"/>
                          <a:cs typeface="Segoe UI" panose="020B0502040204020203" pitchFamily="34" charset="0"/>
                        </a:rPr>
                        <a:t>Customer Success</a:t>
                      </a:r>
                    </a:p>
                  </a:txBody>
                  <a:tcPr marL="7315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Industry-specific technical solution architects (CSA)</a:t>
                      </a:r>
                      <a:endParaRPr kumimoji="0" lang="en-US" sz="12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p>
                    <a:p>
                      <a:pPr marL="0" marR="0" lvl="0" indent="0" algn="ctr" defTabSz="914400" rtl="0" eaLnBrk="1" fontAlgn="base"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r>
                        <a:rPr kumimoji="0" lang="en-US" sz="1200" b="0" i="1"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up to 20 hours</a:t>
                      </a: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p>
                  </a:txBody>
                  <a:tcPr marL="45720" marR="45720" anchor="ctr" horzOverflow="overflow">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0244015"/>
                  </a:ext>
                </a:extLst>
              </a:tr>
              <a:tr h="459398">
                <a:tc vMerge="1">
                  <a:txBody>
                    <a:bodyPr/>
                    <a:lstStyle/>
                    <a:p>
                      <a:endParaRPr 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Specialized, industry focused customer suppor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p>
                  </a:txBody>
                  <a:tcPr marL="45720" marR="45720" anchor="ctr" horzOverflow="overflow">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557399"/>
                  </a:ext>
                </a:extLst>
              </a:tr>
              <a:tr h="643157">
                <a:tc rowSpan="3">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1" i="0" u="none" strike="noStrike" kern="1200" cap="none" spc="0" normalizeH="0" baseline="0">
                          <a:ln>
                            <a:noFill/>
                          </a:ln>
                          <a:solidFill>
                            <a:schemeClr val="bg1"/>
                          </a:solidFill>
                          <a:effectLst/>
                          <a:uLnTx/>
                          <a:uFillTx/>
                          <a:latin typeface="+mn-lt"/>
                          <a:ea typeface="+mn-ea"/>
                          <a:cs typeface="Segoe UI" panose="020B0502040204020203" pitchFamily="34" charset="0"/>
                        </a:rPr>
                        <a:t>Benefits and Discounts</a:t>
                      </a:r>
                    </a:p>
                  </a:txBody>
                  <a:tcPr marL="7315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Compliance Manager (Trial)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rgbClr val="0078D4"/>
                          </a:solidFill>
                          <a:effectLst/>
                          <a:uLnTx/>
                          <a:uFillTx/>
                          <a:latin typeface="Segoe UI" panose="020B0502040204020203" pitchFamily="34" charset="0"/>
                          <a:ea typeface="+mn-ea"/>
                          <a:cs typeface="Segoe UI" panose="020B0502040204020203" pitchFamily="34" charset="0"/>
                        </a:rPr>
                        <a:t>Up to 25 premium assessments </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rgbClr val="0078D4"/>
                          </a:solidFill>
                          <a:effectLst/>
                          <a:uLnTx/>
                          <a:uFillTx/>
                          <a:latin typeface="Segoe UI" panose="020B0502040204020203" pitchFamily="34" charset="0"/>
                          <a:ea typeface="+mn-ea"/>
                          <a:cs typeface="Segoe UI" panose="020B0502040204020203" pitchFamily="34" charset="0"/>
                        </a:rPr>
                        <a:t>via 90-day trial of E5 Compliance/ Compliance Manager</a:t>
                      </a:r>
                    </a:p>
                  </a:txBody>
                  <a:tcPr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2410753"/>
                  </a:ext>
                </a:extLst>
              </a:tr>
              <a:tr h="459398">
                <a:tc vMerge="1">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1" i="0" u="none" strike="noStrike" kern="1200" cap="none" spc="0" normalizeH="0" baseline="0">
                          <a:ln>
                            <a:noFill/>
                          </a:ln>
                          <a:solidFill>
                            <a:schemeClr val="bg1"/>
                          </a:solidFill>
                          <a:effectLst/>
                          <a:uLnTx/>
                          <a:uFillTx/>
                          <a:latin typeface="+mn-lt"/>
                          <a:ea typeface="+mn-ea"/>
                          <a:cs typeface="Segoe UI" panose="020B0502040204020203" pitchFamily="34" charset="0"/>
                        </a:rPr>
                        <a:t>Assurance Program (Seede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Assurance Program (Tri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rgbClr val="0078D4"/>
                          </a:solidFill>
                          <a:effectLst/>
                          <a:uLnTx/>
                          <a:uFillTx/>
                          <a:latin typeface="Segoe UI" panose="020B0502040204020203" pitchFamily="34" charset="0"/>
                          <a:ea typeface="+mn-ea"/>
                          <a:cs typeface="Segoe UI" panose="020B0502040204020203" pitchFamily="34" charset="0"/>
                        </a:rPr>
                        <a:t>One time engineer guided assessment </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1" u="none" strike="noStrike" kern="1200" cap="none" spc="0" normalizeH="0" baseline="0">
                          <a:ln>
                            <a:noFill/>
                          </a:ln>
                          <a:solidFill>
                            <a:srgbClr val="0078D4"/>
                          </a:solidFill>
                          <a:effectLst/>
                          <a:uLnTx/>
                          <a:uFillTx/>
                          <a:latin typeface="Segoe UI" panose="020B0502040204020203" pitchFamily="34" charset="0"/>
                          <a:ea typeface="+mn-ea"/>
                          <a:cs typeface="Segoe UI" panose="020B0502040204020203" pitchFamily="34" charset="0"/>
                        </a:rPr>
                        <a:t>(Up to 2 hours)</a:t>
                      </a:r>
                    </a:p>
                  </a:txBody>
                  <a:tcPr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821633"/>
                  </a:ext>
                </a:extLst>
              </a:tr>
              <a:tr h="375081">
                <a:tc vMerge="1">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1" i="0" u="none" strike="noStrike" kern="1200" cap="none" spc="0" normalizeH="0" baseline="0">
                          <a:ln>
                            <a:noFill/>
                          </a:ln>
                          <a:solidFill>
                            <a:schemeClr val="bg1"/>
                          </a:solidFill>
                          <a:effectLst/>
                          <a:uLnTx/>
                          <a:uFillTx/>
                          <a:latin typeface="+mn-lt"/>
                          <a:ea typeface="+mn-ea"/>
                          <a:cs typeface="Segoe UI" panose="020B0502040204020203" pitchFamily="34" charset="0"/>
                        </a:rPr>
                        <a:t>D365 fraud protection (Seede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a:ln>
                            <a:noFill/>
                          </a:ln>
                          <a:solidFill>
                            <a:schemeClr val="tx1"/>
                          </a:solidFill>
                          <a:effectLst/>
                          <a:uLnTx/>
                          <a:uFillTx/>
                          <a:latin typeface="+mn-lt"/>
                          <a:ea typeface="+mn-ea"/>
                          <a:cs typeface="Segoe UI" panose="020B0502040204020203" pitchFamily="34" charset="0"/>
                        </a:rPr>
                        <a:t>D365 fraud protection (Tri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dirty="0">
                          <a:ln>
                            <a:noFill/>
                          </a:ln>
                          <a:solidFill>
                            <a:srgbClr val="0078D4"/>
                          </a:solidFill>
                          <a:effectLst/>
                          <a:uLnTx/>
                          <a:uFillTx/>
                          <a:latin typeface="Segoe UI" panose="020B0502040204020203" pitchFamily="34" charset="0"/>
                          <a:ea typeface="+mn-ea"/>
                          <a:cs typeface="Segoe UI" panose="020B0502040204020203" pitchFamily="34" charset="0"/>
                        </a:rPr>
                        <a:t>AP 50,000 transactions</a:t>
                      </a:r>
                    </a:p>
                    <a:p>
                      <a:pPr marL="0" marR="0" lvl="0" indent="0" algn="ctr"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0" lang="en-US" sz="1200" b="0" i="0" u="none" strike="noStrike" kern="1200" cap="none" spc="0" normalizeH="0" baseline="0" dirty="0">
                          <a:ln>
                            <a:noFill/>
                          </a:ln>
                          <a:solidFill>
                            <a:srgbClr val="0078D4"/>
                          </a:solidFill>
                          <a:effectLst/>
                          <a:uLnTx/>
                          <a:uFillTx/>
                          <a:latin typeface="Segoe UI" panose="020B0502040204020203" pitchFamily="34" charset="0"/>
                          <a:ea typeface="+mn-ea"/>
                          <a:cs typeface="Segoe UI" panose="020B0502040204020203" pitchFamily="34" charset="0"/>
                        </a:rPr>
                        <a:t>Limited PP and LP (5,000)</a:t>
                      </a:r>
                    </a:p>
                  </a:txBody>
                  <a:tcPr anchor="ctr">
                    <a:lnL w="317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5712442"/>
                  </a:ext>
                </a:extLst>
              </a:tr>
            </a:tbl>
          </a:graphicData>
        </a:graphic>
      </p:graphicFrame>
      <p:grpSp>
        <p:nvGrpSpPr>
          <p:cNvPr id="8" name="Group 7">
            <a:extLst>
              <a:ext uri="{FF2B5EF4-FFF2-40B4-BE49-F238E27FC236}">
                <a16:creationId xmlns:a16="http://schemas.microsoft.com/office/drawing/2014/main" id="{59E44C99-3528-4991-9E52-3EA41F8D75CF}"/>
              </a:ext>
            </a:extLst>
          </p:cNvPr>
          <p:cNvGrpSpPr/>
          <p:nvPr/>
        </p:nvGrpSpPr>
        <p:grpSpPr>
          <a:xfrm>
            <a:off x="720650" y="3615577"/>
            <a:ext cx="275079" cy="278307"/>
            <a:chOff x="7355213" y="3370267"/>
            <a:chExt cx="831086" cy="831086"/>
          </a:xfrm>
        </p:grpSpPr>
        <p:sp>
          <p:nvSpPr>
            <p:cNvPr id="10" name="Oval 9">
              <a:extLst>
                <a:ext uri="{FF2B5EF4-FFF2-40B4-BE49-F238E27FC236}">
                  <a16:creationId xmlns:a16="http://schemas.microsoft.com/office/drawing/2014/main" id="{6E98D636-1285-4020-AE49-2C3B506F3E17}"/>
                </a:ext>
              </a:extLst>
            </p:cNvPr>
            <p:cNvSpPr/>
            <p:nvPr/>
          </p:nvSpPr>
          <p:spPr bwMode="auto">
            <a:xfrm>
              <a:off x="7355213" y="3370267"/>
              <a:ext cx="831086" cy="831086"/>
            </a:xfrm>
            <a:prstGeom prst="ellipse">
              <a:avLst/>
            </a:prstGeom>
            <a:solidFill>
              <a:schemeClr val="bg1"/>
            </a:solidFill>
            <a:ln w="12700" cap="flat" cmpd="sng" algn="ctr">
              <a:no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1" name="Group 10" descr="assistance, person">
              <a:extLst>
                <a:ext uri="{FF2B5EF4-FFF2-40B4-BE49-F238E27FC236}">
                  <a16:creationId xmlns:a16="http://schemas.microsoft.com/office/drawing/2014/main" id="{89D6E698-D410-4AFB-A889-34A6EB7CCCE6}"/>
                </a:ext>
              </a:extLst>
            </p:cNvPr>
            <p:cNvGrpSpPr/>
            <p:nvPr/>
          </p:nvGrpSpPr>
          <p:grpSpPr>
            <a:xfrm>
              <a:off x="7589399" y="3582094"/>
              <a:ext cx="362714" cy="407432"/>
              <a:chOff x="1674793" y="3086100"/>
              <a:chExt cx="302990" cy="340344"/>
            </a:xfrm>
          </p:grpSpPr>
          <p:grpSp>
            <p:nvGrpSpPr>
              <p:cNvPr id="12" name="Group 11">
                <a:extLst>
                  <a:ext uri="{FF2B5EF4-FFF2-40B4-BE49-F238E27FC236}">
                    <a16:creationId xmlns:a16="http://schemas.microsoft.com/office/drawing/2014/main" id="{E8EDA834-BCE0-4C9F-9A77-7916EDF9F1CE}"/>
                  </a:ext>
                </a:extLst>
              </p:cNvPr>
              <p:cNvGrpSpPr/>
              <p:nvPr/>
            </p:nvGrpSpPr>
            <p:grpSpPr>
              <a:xfrm>
                <a:off x="1674793" y="3086100"/>
                <a:ext cx="302990" cy="340344"/>
                <a:chOff x="4666301" y="3313048"/>
                <a:chExt cx="193675" cy="217553"/>
              </a:xfrm>
            </p:grpSpPr>
            <p:sp>
              <p:nvSpPr>
                <p:cNvPr id="14" name="Freeform 41">
                  <a:extLst>
                    <a:ext uri="{FF2B5EF4-FFF2-40B4-BE49-F238E27FC236}">
                      <a16:creationId xmlns:a16="http://schemas.microsoft.com/office/drawing/2014/main" id="{BA7FBE4F-FBE2-4DFD-9797-EBBA388C332D}"/>
                    </a:ext>
                  </a:extLst>
                </p:cNvPr>
                <p:cNvSpPr>
                  <a:spLocks/>
                </p:cNvSpPr>
                <p:nvPr/>
              </p:nvSpPr>
              <p:spPr bwMode="auto">
                <a:xfrm>
                  <a:off x="4666301" y="3433763"/>
                  <a:ext cx="193675" cy="96838"/>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Oval 42">
                  <a:extLst>
                    <a:ext uri="{FF2B5EF4-FFF2-40B4-BE49-F238E27FC236}">
                      <a16:creationId xmlns:a16="http://schemas.microsoft.com/office/drawing/2014/main" id="{F972430B-3BE7-499D-8246-C70767262DAA}"/>
                    </a:ext>
                  </a:extLst>
                </p:cNvPr>
                <p:cNvSpPr>
                  <a:spLocks noChangeArrowheads="1"/>
                </p:cNvSpPr>
                <p:nvPr/>
              </p:nvSpPr>
              <p:spPr bwMode="auto">
                <a:xfrm>
                  <a:off x="4706939" y="3313048"/>
                  <a:ext cx="110813" cy="1087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 name="Freeform 71">
                <a:extLst>
                  <a:ext uri="{FF2B5EF4-FFF2-40B4-BE49-F238E27FC236}">
                    <a16:creationId xmlns:a16="http://schemas.microsoft.com/office/drawing/2014/main" id="{830472C6-181C-4D58-9BB1-9F555DACC67E}"/>
                  </a:ext>
                </a:extLst>
              </p:cNvPr>
              <p:cNvSpPr>
                <a:spLocks/>
              </p:cNvSpPr>
              <p:nvPr/>
            </p:nvSpPr>
            <p:spPr bwMode="auto">
              <a:xfrm>
                <a:off x="1799806" y="3160763"/>
                <a:ext cx="123255" cy="81267"/>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0E6FF"/>
              </a:solidFill>
              <a:ln w="15875" cap="flat">
                <a:noFill/>
                <a:prstDash val="solid"/>
                <a:miter lim="800000"/>
                <a:headEnd/>
                <a:tailEnd/>
              </a:ln>
            </p:spPr>
            <p:txBody>
              <a:bodyPr vert="horz" wrap="square" lIns="89606" tIns="44803" rIns="89606" bIns="44803"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6" name="Group 15">
            <a:extLst>
              <a:ext uri="{FF2B5EF4-FFF2-40B4-BE49-F238E27FC236}">
                <a16:creationId xmlns:a16="http://schemas.microsoft.com/office/drawing/2014/main" id="{9D94693E-1F76-4D86-8707-17E90021E348}"/>
              </a:ext>
            </a:extLst>
          </p:cNvPr>
          <p:cNvGrpSpPr/>
          <p:nvPr/>
        </p:nvGrpSpPr>
        <p:grpSpPr>
          <a:xfrm>
            <a:off x="715102" y="4927231"/>
            <a:ext cx="286174" cy="289532"/>
            <a:chOff x="7137754" y="12808360"/>
            <a:chExt cx="502920" cy="502920"/>
          </a:xfrm>
        </p:grpSpPr>
        <p:sp>
          <p:nvSpPr>
            <p:cNvPr id="17" name="Oval 16">
              <a:extLst>
                <a:ext uri="{FF2B5EF4-FFF2-40B4-BE49-F238E27FC236}">
                  <a16:creationId xmlns:a16="http://schemas.microsoft.com/office/drawing/2014/main" id="{550B9EC3-FB6E-42B9-8139-7A27EF8C42EC}"/>
                </a:ext>
              </a:extLst>
            </p:cNvPr>
            <p:cNvSpPr>
              <a:spLocks/>
            </p:cNvSpPr>
            <p:nvPr/>
          </p:nvSpPr>
          <p:spPr bwMode="auto">
            <a:xfrm>
              <a:off x="7137754" y="12808360"/>
              <a:ext cx="502920" cy="502920"/>
            </a:xfrm>
            <a:prstGeom prst="ellipse">
              <a:avLst/>
            </a:prstGeom>
            <a:solidFill>
              <a:schemeClr val="bg1"/>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8" name="Oval 17">
              <a:extLst>
                <a:ext uri="{FF2B5EF4-FFF2-40B4-BE49-F238E27FC236}">
                  <a16:creationId xmlns:a16="http://schemas.microsoft.com/office/drawing/2014/main" id="{90E648D6-8035-42E4-8219-C33B2694107A}"/>
                </a:ext>
              </a:extLst>
            </p:cNvPr>
            <p:cNvSpPr>
              <a:spLocks/>
            </p:cNvSpPr>
            <p:nvPr/>
          </p:nvSpPr>
          <p:spPr bwMode="auto">
            <a:xfrm>
              <a:off x="7163356" y="12833962"/>
              <a:ext cx="451716" cy="451716"/>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9" name="Freeform 133">
              <a:extLst>
                <a:ext uri="{FF2B5EF4-FFF2-40B4-BE49-F238E27FC236}">
                  <a16:creationId xmlns:a16="http://schemas.microsoft.com/office/drawing/2014/main" id="{23441338-92B6-419A-8EF0-AF54CB4C1EB4}"/>
                </a:ext>
              </a:extLst>
            </p:cNvPr>
            <p:cNvSpPr>
              <a:spLocks/>
            </p:cNvSpPr>
            <p:nvPr/>
          </p:nvSpPr>
          <p:spPr bwMode="auto">
            <a:xfrm>
              <a:off x="7392839" y="12952063"/>
              <a:ext cx="81724" cy="59975"/>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134">
              <a:extLst>
                <a:ext uri="{FF2B5EF4-FFF2-40B4-BE49-F238E27FC236}">
                  <a16:creationId xmlns:a16="http://schemas.microsoft.com/office/drawing/2014/main" id="{A5A8331F-64CA-4BD3-AAA9-3A7BFEAA3E20}"/>
                </a:ext>
              </a:extLst>
            </p:cNvPr>
            <p:cNvSpPr>
              <a:spLocks/>
            </p:cNvSpPr>
            <p:nvPr/>
          </p:nvSpPr>
          <p:spPr bwMode="auto">
            <a:xfrm>
              <a:off x="7264980" y="13083875"/>
              <a:ext cx="58657" cy="83701"/>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135">
              <a:extLst>
                <a:ext uri="{FF2B5EF4-FFF2-40B4-BE49-F238E27FC236}">
                  <a16:creationId xmlns:a16="http://schemas.microsoft.com/office/drawing/2014/main" id="{645484FD-DEE3-4B5A-8A33-34DEB032C0D2}"/>
                </a:ext>
              </a:extLst>
            </p:cNvPr>
            <p:cNvSpPr>
              <a:spLocks/>
            </p:cNvSpPr>
            <p:nvPr/>
          </p:nvSpPr>
          <p:spPr bwMode="auto">
            <a:xfrm>
              <a:off x="7264980" y="12992266"/>
              <a:ext cx="58657" cy="83701"/>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136">
              <a:extLst>
                <a:ext uri="{FF2B5EF4-FFF2-40B4-BE49-F238E27FC236}">
                  <a16:creationId xmlns:a16="http://schemas.microsoft.com/office/drawing/2014/main" id="{54A814EC-545C-4CFE-9847-72E30699EABE}"/>
                </a:ext>
              </a:extLst>
            </p:cNvPr>
            <p:cNvSpPr>
              <a:spLocks/>
            </p:cNvSpPr>
            <p:nvPr/>
          </p:nvSpPr>
          <p:spPr bwMode="auto">
            <a:xfrm>
              <a:off x="7303865" y="12952063"/>
              <a:ext cx="81065" cy="59975"/>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37">
              <a:extLst>
                <a:ext uri="{FF2B5EF4-FFF2-40B4-BE49-F238E27FC236}">
                  <a16:creationId xmlns:a16="http://schemas.microsoft.com/office/drawing/2014/main" id="{5A7BAFAC-F1BC-4B20-BEF9-2559678DAEB8}"/>
                </a:ext>
              </a:extLst>
            </p:cNvPr>
            <p:cNvSpPr>
              <a:spLocks/>
            </p:cNvSpPr>
            <p:nvPr/>
          </p:nvSpPr>
          <p:spPr bwMode="auto">
            <a:xfrm>
              <a:off x="7331546" y="13025878"/>
              <a:ext cx="181902" cy="12588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F8DFC2E4-B06E-4FF4-9D73-289E161E13D8}"/>
              </a:ext>
            </a:extLst>
          </p:cNvPr>
          <p:cNvGrpSpPr/>
          <p:nvPr/>
        </p:nvGrpSpPr>
        <p:grpSpPr>
          <a:xfrm>
            <a:off x="720651" y="2238562"/>
            <a:ext cx="275077" cy="278305"/>
            <a:chOff x="2843913" y="4429810"/>
            <a:chExt cx="831086" cy="831086"/>
          </a:xfrm>
        </p:grpSpPr>
        <p:sp>
          <p:nvSpPr>
            <p:cNvPr id="25" name="Oval 24">
              <a:extLst>
                <a:ext uri="{FF2B5EF4-FFF2-40B4-BE49-F238E27FC236}">
                  <a16:creationId xmlns:a16="http://schemas.microsoft.com/office/drawing/2014/main" id="{3C375464-07C3-4660-A67D-6D1A6BE4D5C6}"/>
                </a:ext>
              </a:extLst>
            </p:cNvPr>
            <p:cNvSpPr/>
            <p:nvPr/>
          </p:nvSpPr>
          <p:spPr bwMode="auto">
            <a:xfrm>
              <a:off x="2843913" y="4429810"/>
              <a:ext cx="831086" cy="831086"/>
            </a:xfrm>
            <a:prstGeom prst="ellipse">
              <a:avLst/>
            </a:prstGeom>
            <a:solidFill>
              <a:schemeClr val="bg1"/>
            </a:solidFill>
            <a:ln w="12700" cap="flat" cmpd="sng" algn="ctr">
              <a:no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26" name="Group 25" descr="Dynamics 365 Guides, HoloLens Guides &#10;">
              <a:extLst>
                <a:ext uri="{FF2B5EF4-FFF2-40B4-BE49-F238E27FC236}">
                  <a16:creationId xmlns:a16="http://schemas.microsoft.com/office/drawing/2014/main" id="{75273BF5-FA22-4E62-B9FB-96A7F4CF0ADB}"/>
                </a:ext>
              </a:extLst>
            </p:cNvPr>
            <p:cNvGrpSpPr>
              <a:grpSpLocks noChangeAspect="1"/>
            </p:cNvGrpSpPr>
            <p:nvPr/>
          </p:nvGrpSpPr>
          <p:grpSpPr>
            <a:xfrm>
              <a:off x="3051812" y="4612502"/>
              <a:ext cx="415287" cy="465702"/>
              <a:chOff x="1474677" y="2437"/>
              <a:chExt cx="1319815" cy="1480047"/>
            </a:xfrm>
          </p:grpSpPr>
          <p:sp>
            <p:nvSpPr>
              <p:cNvPr id="27" name="Freeform: Shape 26">
                <a:extLst>
                  <a:ext uri="{FF2B5EF4-FFF2-40B4-BE49-F238E27FC236}">
                    <a16:creationId xmlns:a16="http://schemas.microsoft.com/office/drawing/2014/main" id="{42E1B54E-EBA9-4C4A-B8DC-EFAA695B914B}"/>
                  </a:ext>
                  <a:ext uri="{C183D7F6-B498-43B3-948B-1728B52AA6E4}">
                    <adec:decorative xmlns:adec="http://schemas.microsoft.com/office/drawing/2017/decorative" val="1"/>
                  </a:ext>
                </a:extLst>
              </p:cNvPr>
              <p:cNvSpPr/>
              <p:nvPr/>
            </p:nvSpPr>
            <p:spPr bwMode="auto">
              <a:xfrm rot="4500000">
                <a:off x="1450736" y="647868"/>
                <a:ext cx="237576" cy="189693"/>
              </a:xfrm>
              <a:custGeom>
                <a:avLst/>
                <a:gdLst>
                  <a:gd name="connsiteX0" fmla="*/ 0 w 237576"/>
                  <a:gd name="connsiteY0" fmla="*/ 104803 h 189693"/>
                  <a:gd name="connsiteX1" fmla="*/ 181524 w 237576"/>
                  <a:gd name="connsiteY1" fmla="*/ 0 h 189693"/>
                  <a:gd name="connsiteX2" fmla="*/ 209243 w 237576"/>
                  <a:gd name="connsiteY2" fmla="*/ 10505 h 189693"/>
                  <a:gd name="connsiteX3" fmla="*/ 237576 w 237576"/>
                  <a:gd name="connsiteY3" fmla="*/ 15116 h 189693"/>
                  <a:gd name="connsiteX4" fmla="*/ 237576 w 237576"/>
                  <a:gd name="connsiteY4" fmla="*/ 189693 h 189693"/>
                  <a:gd name="connsiteX5" fmla="*/ 164420 w 237576"/>
                  <a:gd name="connsiteY5" fmla="*/ 177787 h 189693"/>
                  <a:gd name="connsiteX6" fmla="*/ 42365 w 237576"/>
                  <a:gd name="connsiteY6" fmla="*/ 131529 h 189693"/>
                  <a:gd name="connsiteX7" fmla="*/ 0 w 237576"/>
                  <a:gd name="connsiteY7" fmla="*/ 104803 h 18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576" h="189693">
                    <a:moveTo>
                      <a:pt x="0" y="104803"/>
                    </a:moveTo>
                    <a:lnTo>
                      <a:pt x="181524" y="0"/>
                    </a:lnTo>
                    <a:lnTo>
                      <a:pt x="209243" y="10505"/>
                    </a:lnTo>
                    <a:lnTo>
                      <a:pt x="237576" y="15116"/>
                    </a:lnTo>
                    <a:lnTo>
                      <a:pt x="237576" y="189693"/>
                    </a:lnTo>
                    <a:lnTo>
                      <a:pt x="164420" y="177787"/>
                    </a:lnTo>
                    <a:cubicBezTo>
                      <a:pt x="121450" y="166273"/>
                      <a:pt x="80663" y="150677"/>
                      <a:pt x="42365" y="131529"/>
                    </a:cubicBezTo>
                    <a:lnTo>
                      <a:pt x="0" y="104803"/>
                    </a:ln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Freeform: Shape 27">
                <a:extLst>
                  <a:ext uri="{FF2B5EF4-FFF2-40B4-BE49-F238E27FC236}">
                    <a16:creationId xmlns:a16="http://schemas.microsoft.com/office/drawing/2014/main" id="{426D2BB5-43E6-4A04-B5F1-1FB47AAC7D93}"/>
                  </a:ext>
                  <a:ext uri="{C183D7F6-B498-43B3-948B-1728B52AA6E4}">
                    <adec:decorative xmlns:adec="http://schemas.microsoft.com/office/drawing/2017/decorative" val="1"/>
                  </a:ext>
                </a:extLst>
              </p:cNvPr>
              <p:cNvSpPr/>
              <p:nvPr/>
            </p:nvSpPr>
            <p:spPr bwMode="auto">
              <a:xfrm rot="4500000">
                <a:off x="1583012" y="1005523"/>
                <a:ext cx="159476" cy="192807"/>
              </a:xfrm>
              <a:custGeom>
                <a:avLst/>
                <a:gdLst>
                  <a:gd name="connsiteX0" fmla="*/ 0 w 159476"/>
                  <a:gd name="connsiteY0" fmla="*/ 17448 h 192807"/>
                  <a:gd name="connsiteX1" fmla="*/ 72718 w 159476"/>
                  <a:gd name="connsiteY1" fmla="*/ 0 h 192807"/>
                  <a:gd name="connsiteX2" fmla="*/ 159476 w 159476"/>
                  <a:gd name="connsiteY2" fmla="*/ 150271 h 192807"/>
                  <a:gd name="connsiteX3" fmla="*/ 130766 w 159476"/>
                  <a:gd name="connsiteY3" fmla="*/ 163370 h 192807"/>
                  <a:gd name="connsiteX4" fmla="*/ 9657 w 159476"/>
                  <a:gd name="connsiteY4" fmla="*/ 192428 h 192807"/>
                  <a:gd name="connsiteX5" fmla="*/ 0 w 159476"/>
                  <a:gd name="connsiteY5" fmla="*/ 192807 h 192807"/>
                  <a:gd name="connsiteX6" fmla="*/ 0 w 159476"/>
                  <a:gd name="connsiteY6" fmla="*/ 17448 h 19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76" h="192807">
                    <a:moveTo>
                      <a:pt x="0" y="17448"/>
                    </a:moveTo>
                    <a:lnTo>
                      <a:pt x="72718" y="0"/>
                    </a:lnTo>
                    <a:lnTo>
                      <a:pt x="159476" y="150271"/>
                    </a:lnTo>
                    <a:lnTo>
                      <a:pt x="130766" y="163370"/>
                    </a:lnTo>
                    <a:cubicBezTo>
                      <a:pt x="91657" y="176868"/>
                      <a:pt x="51111" y="186656"/>
                      <a:pt x="9657" y="192428"/>
                    </a:cubicBezTo>
                    <a:lnTo>
                      <a:pt x="0" y="192807"/>
                    </a:lnTo>
                    <a:lnTo>
                      <a:pt x="0" y="17448"/>
                    </a:ln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 name="Freeform: Shape 28">
                <a:extLst>
                  <a:ext uri="{FF2B5EF4-FFF2-40B4-BE49-F238E27FC236}">
                    <a16:creationId xmlns:a16="http://schemas.microsoft.com/office/drawing/2014/main" id="{59286B88-60FA-444E-B700-B90837E74F9D}"/>
                  </a:ext>
                  <a:ext uri="{C183D7F6-B498-43B3-948B-1728B52AA6E4}">
                    <adec:decorative xmlns:adec="http://schemas.microsoft.com/office/drawing/2017/decorative" val="1"/>
                  </a:ext>
                </a:extLst>
              </p:cNvPr>
              <p:cNvSpPr/>
              <p:nvPr/>
            </p:nvSpPr>
            <p:spPr bwMode="auto">
              <a:xfrm rot="4500000">
                <a:off x="1751987" y="1203673"/>
                <a:ext cx="206992" cy="203845"/>
              </a:xfrm>
              <a:custGeom>
                <a:avLst/>
                <a:gdLst>
                  <a:gd name="connsiteX0" fmla="*/ 0 w 206992"/>
                  <a:gd name="connsiteY0" fmla="*/ 53863 h 203845"/>
                  <a:gd name="connsiteX1" fmla="*/ 7431 w 206992"/>
                  <a:gd name="connsiteY1" fmla="*/ 48567 h 203845"/>
                  <a:gd name="connsiteX2" fmla="*/ 53507 w 206992"/>
                  <a:gd name="connsiteY2" fmla="*/ 0 h 203845"/>
                  <a:gd name="connsiteX3" fmla="*/ 206992 w 206992"/>
                  <a:gd name="connsiteY3" fmla="*/ 88615 h 203845"/>
                  <a:gd name="connsiteX4" fmla="*/ 206805 w 206992"/>
                  <a:gd name="connsiteY4" fmla="*/ 88912 h 203845"/>
                  <a:gd name="connsiteX5" fmla="*/ 121086 w 206992"/>
                  <a:gd name="connsiteY5" fmla="*/ 179265 h 203845"/>
                  <a:gd name="connsiteX6" fmla="*/ 86593 w 206992"/>
                  <a:gd name="connsiteY6" fmla="*/ 203845 h 203845"/>
                  <a:gd name="connsiteX7" fmla="*/ 0 w 206992"/>
                  <a:gd name="connsiteY7" fmla="*/ 53863 h 20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992" h="203845">
                    <a:moveTo>
                      <a:pt x="0" y="53863"/>
                    </a:moveTo>
                    <a:lnTo>
                      <a:pt x="7431" y="48567"/>
                    </a:lnTo>
                    <a:lnTo>
                      <a:pt x="53507" y="0"/>
                    </a:lnTo>
                    <a:lnTo>
                      <a:pt x="206992" y="88615"/>
                    </a:lnTo>
                    <a:lnTo>
                      <a:pt x="206805" y="88912"/>
                    </a:lnTo>
                    <a:cubicBezTo>
                      <a:pt x="181079" y="121925"/>
                      <a:pt x="152330" y="152145"/>
                      <a:pt x="121086" y="179265"/>
                    </a:cubicBezTo>
                    <a:lnTo>
                      <a:pt x="86593" y="203845"/>
                    </a:lnTo>
                    <a:lnTo>
                      <a:pt x="0" y="53863"/>
                    </a:ln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 name="wrench">
                <a:extLst>
                  <a:ext uri="{FF2B5EF4-FFF2-40B4-BE49-F238E27FC236}">
                    <a16:creationId xmlns:a16="http://schemas.microsoft.com/office/drawing/2014/main" id="{C2B9D6BB-ADFD-42CE-B27A-039EB11C9D1A}"/>
                  </a:ext>
                  <a:ext uri="{C183D7F6-B498-43B3-948B-1728B52AA6E4}">
                    <adec:decorative xmlns:adec="http://schemas.microsoft.com/office/drawing/2017/decorative" val="1"/>
                  </a:ext>
                </a:extLst>
              </p:cNvPr>
              <p:cNvSpPr>
                <a:spLocks/>
              </p:cNvSpPr>
              <p:nvPr/>
            </p:nvSpPr>
            <p:spPr bwMode="auto">
              <a:xfrm rot="2700000">
                <a:off x="1339110" y="332421"/>
                <a:ext cx="1124386" cy="464418"/>
              </a:xfrm>
              <a:custGeom>
                <a:avLst/>
                <a:gdLst>
                  <a:gd name="T0" fmla="*/ 168 w 217"/>
                  <a:gd name="T1" fmla="*/ 62 h 90"/>
                  <a:gd name="T2" fmla="*/ 156 w 217"/>
                  <a:gd name="T3" fmla="*/ 45 h 90"/>
                  <a:gd name="T4" fmla="*/ 168 w 217"/>
                  <a:gd name="T5" fmla="*/ 28 h 90"/>
                  <a:gd name="T6" fmla="*/ 217 w 217"/>
                  <a:gd name="T7" fmla="*/ 28 h 90"/>
                  <a:gd name="T8" fmla="*/ 175 w 217"/>
                  <a:gd name="T9" fmla="*/ 0 h 90"/>
                  <a:gd name="T10" fmla="*/ 135 w 217"/>
                  <a:gd name="T11" fmla="*/ 25 h 90"/>
                  <a:gd name="T12" fmla="*/ 20 w 217"/>
                  <a:gd name="T13" fmla="*/ 25 h 90"/>
                  <a:gd name="T14" fmla="*/ 0 w 217"/>
                  <a:gd name="T15" fmla="*/ 45 h 90"/>
                  <a:gd name="T16" fmla="*/ 20 w 217"/>
                  <a:gd name="T17" fmla="*/ 65 h 90"/>
                  <a:gd name="T18" fmla="*/ 135 w 217"/>
                  <a:gd name="T19" fmla="*/ 65 h 90"/>
                  <a:gd name="T20" fmla="*/ 175 w 217"/>
                  <a:gd name="T21" fmla="*/ 90 h 90"/>
                  <a:gd name="T22" fmla="*/ 217 w 217"/>
                  <a:gd name="T23" fmla="*/ 62 h 90"/>
                  <a:gd name="T24" fmla="*/ 168 w 217"/>
                  <a:gd name="T25"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90">
                    <a:moveTo>
                      <a:pt x="168" y="62"/>
                    </a:moveTo>
                    <a:cubicBezTo>
                      <a:pt x="156" y="45"/>
                      <a:pt x="156" y="45"/>
                      <a:pt x="156" y="45"/>
                    </a:cubicBezTo>
                    <a:cubicBezTo>
                      <a:pt x="168" y="28"/>
                      <a:pt x="168" y="28"/>
                      <a:pt x="168" y="28"/>
                    </a:cubicBezTo>
                    <a:cubicBezTo>
                      <a:pt x="217" y="28"/>
                      <a:pt x="217" y="28"/>
                      <a:pt x="217" y="28"/>
                    </a:cubicBezTo>
                    <a:cubicBezTo>
                      <a:pt x="210" y="12"/>
                      <a:pt x="194" y="0"/>
                      <a:pt x="175" y="0"/>
                    </a:cubicBezTo>
                    <a:cubicBezTo>
                      <a:pt x="158" y="0"/>
                      <a:pt x="142" y="10"/>
                      <a:pt x="135" y="25"/>
                    </a:cubicBezTo>
                    <a:cubicBezTo>
                      <a:pt x="20" y="25"/>
                      <a:pt x="20" y="25"/>
                      <a:pt x="20" y="25"/>
                    </a:cubicBezTo>
                    <a:cubicBezTo>
                      <a:pt x="9" y="25"/>
                      <a:pt x="0" y="34"/>
                      <a:pt x="0" y="45"/>
                    </a:cubicBezTo>
                    <a:cubicBezTo>
                      <a:pt x="0" y="56"/>
                      <a:pt x="9" y="65"/>
                      <a:pt x="20" y="65"/>
                    </a:cubicBezTo>
                    <a:cubicBezTo>
                      <a:pt x="135" y="65"/>
                      <a:pt x="135" y="65"/>
                      <a:pt x="135" y="65"/>
                    </a:cubicBezTo>
                    <a:cubicBezTo>
                      <a:pt x="142" y="80"/>
                      <a:pt x="158" y="90"/>
                      <a:pt x="175" y="90"/>
                    </a:cubicBezTo>
                    <a:cubicBezTo>
                      <a:pt x="194" y="90"/>
                      <a:pt x="210" y="78"/>
                      <a:pt x="217" y="62"/>
                    </a:cubicBezTo>
                    <a:lnTo>
                      <a:pt x="168" y="6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AE48A278-68D7-4D06-BD7D-D34D40D0EBD4}"/>
                  </a:ext>
                  <a:ext uri="{C183D7F6-B498-43B3-948B-1728B52AA6E4}">
                    <adec:decorative xmlns:adec="http://schemas.microsoft.com/office/drawing/2017/decorative" val="1"/>
                  </a:ext>
                </a:extLst>
              </p:cNvPr>
              <p:cNvSpPr/>
              <p:nvPr/>
            </p:nvSpPr>
            <p:spPr bwMode="auto">
              <a:xfrm rot="17100000">
                <a:off x="1622041" y="310034"/>
                <a:ext cx="1342883" cy="1002018"/>
              </a:xfrm>
              <a:custGeom>
                <a:avLst/>
                <a:gdLst>
                  <a:gd name="connsiteX0" fmla="*/ 1342883 w 1342883"/>
                  <a:gd name="connsiteY0" fmla="*/ 278200 h 1002018"/>
                  <a:gd name="connsiteX1" fmla="*/ 1272548 w 1342883"/>
                  <a:gd name="connsiteY1" fmla="*/ 278200 h 1002018"/>
                  <a:gd name="connsiteX2" fmla="*/ 1279270 w 1342883"/>
                  <a:gd name="connsiteY2" fmla="*/ 319510 h 1002018"/>
                  <a:gd name="connsiteX3" fmla="*/ 802645 w 1342883"/>
                  <a:gd name="connsiteY3" fmla="*/ 979901 h 1002018"/>
                  <a:gd name="connsiteX4" fmla="*/ 13421 w 1342883"/>
                  <a:gd name="connsiteY4" fmla="*/ 524244 h 1002018"/>
                  <a:gd name="connsiteX5" fmla="*/ 0 w 1342883"/>
                  <a:gd name="connsiteY5" fmla="*/ 441782 h 1002018"/>
                  <a:gd name="connsiteX6" fmla="*/ 174581 w 1342883"/>
                  <a:gd name="connsiteY6" fmla="*/ 441782 h 1002018"/>
                  <a:gd name="connsiteX7" fmla="*/ 180706 w 1342883"/>
                  <a:gd name="connsiteY7" fmla="*/ 479420 h 1002018"/>
                  <a:gd name="connsiteX8" fmla="*/ 757822 w 1342883"/>
                  <a:gd name="connsiteY8" fmla="*/ 812619 h 1002018"/>
                  <a:gd name="connsiteX9" fmla="*/ 1106351 w 1342883"/>
                  <a:gd name="connsiteY9" fmla="*/ 329710 h 1002018"/>
                  <a:gd name="connsiteX10" fmla="*/ 1097968 w 1342883"/>
                  <a:gd name="connsiteY10" fmla="*/ 278200 h 1002018"/>
                  <a:gd name="connsiteX11" fmla="*/ 1028162 w 1342883"/>
                  <a:gd name="connsiteY11" fmla="*/ 278200 h 1002018"/>
                  <a:gd name="connsiteX12" fmla="*/ 1185523 w 1342883"/>
                  <a:gd name="connsiteY12" fmla="*/ 0 h 100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2883" h="1002018">
                    <a:moveTo>
                      <a:pt x="1342883" y="278200"/>
                    </a:moveTo>
                    <a:lnTo>
                      <a:pt x="1272548" y="278200"/>
                    </a:lnTo>
                    <a:lnTo>
                      <a:pt x="1279270" y="319510"/>
                    </a:lnTo>
                    <a:cubicBezTo>
                      <a:pt x="1297230" y="618698"/>
                      <a:pt x="1103439" y="899304"/>
                      <a:pt x="802645" y="979901"/>
                    </a:cubicBezTo>
                    <a:cubicBezTo>
                      <a:pt x="458879" y="1072014"/>
                      <a:pt x="105532" y="868008"/>
                      <a:pt x="13421" y="524244"/>
                    </a:cubicBezTo>
                    <a:lnTo>
                      <a:pt x="0" y="441782"/>
                    </a:lnTo>
                    <a:lnTo>
                      <a:pt x="174581" y="441782"/>
                    </a:lnTo>
                    <a:lnTo>
                      <a:pt x="180706" y="479420"/>
                    </a:lnTo>
                    <a:cubicBezTo>
                      <a:pt x="248062" y="730797"/>
                      <a:pt x="506446" y="879976"/>
                      <a:pt x="757822" y="812619"/>
                    </a:cubicBezTo>
                    <a:cubicBezTo>
                      <a:pt x="977776" y="753683"/>
                      <a:pt x="1119485" y="548490"/>
                      <a:pt x="1106351" y="329710"/>
                    </a:cubicBezTo>
                    <a:lnTo>
                      <a:pt x="1097968" y="278200"/>
                    </a:lnTo>
                    <a:lnTo>
                      <a:pt x="1028162" y="278200"/>
                    </a:lnTo>
                    <a:lnTo>
                      <a:pt x="1185523" y="0"/>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 name="TextBox 2">
            <a:extLst>
              <a:ext uri="{FF2B5EF4-FFF2-40B4-BE49-F238E27FC236}">
                <a16:creationId xmlns:a16="http://schemas.microsoft.com/office/drawing/2014/main" id="{55953615-BAD5-4FD5-AD10-4D20D1209C4F}"/>
              </a:ext>
            </a:extLst>
          </p:cNvPr>
          <p:cNvSpPr txBox="1"/>
          <p:nvPr/>
        </p:nvSpPr>
        <p:spPr>
          <a:xfrm>
            <a:off x="499811" y="1082104"/>
            <a:ext cx="242268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Pricing Model</a:t>
            </a:r>
          </a:p>
        </p:txBody>
      </p:sp>
    </p:spTree>
    <p:extLst>
      <p:ext uri="{BB962C8B-B14F-4D97-AF65-F5344CB8AC3E}">
        <p14:creationId xmlns:p14="http://schemas.microsoft.com/office/powerpoint/2010/main" val="28742872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53008" y="279336"/>
            <a:ext cx="6912230" cy="492443"/>
          </a:xfrm>
        </p:spPr>
        <p:txBody>
          <a:bodyPr/>
          <a:lstStyle/>
          <a:p>
            <a:pPr lvl="0"/>
            <a:r>
              <a:rPr lang="en-US" dirty="0">
                <a:solidFill>
                  <a:srgbClr val="0070C0"/>
                </a:solidFill>
              </a:rPr>
              <a:t>Features and Solution Dependencies</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aphicFrame>
        <p:nvGraphicFramePr>
          <p:cNvPr id="3" name="Group 3">
            <a:extLst>
              <a:ext uri="{FF2B5EF4-FFF2-40B4-BE49-F238E27FC236}">
                <a16:creationId xmlns:a16="http://schemas.microsoft.com/office/drawing/2014/main" id="{C81988B5-6088-47B4-9E5E-CC35B283A3BE}"/>
              </a:ext>
            </a:extLst>
          </p:cNvPr>
          <p:cNvGraphicFramePr>
            <a:graphicFrameLocks/>
          </p:cNvGraphicFramePr>
          <p:nvPr>
            <p:custDataLst>
              <p:tags r:id="rId1"/>
            </p:custDataLst>
          </p:nvPr>
        </p:nvGraphicFramePr>
        <p:xfrm>
          <a:off x="108090" y="1468683"/>
          <a:ext cx="12024559" cy="3742000"/>
        </p:xfrm>
        <a:graphic>
          <a:graphicData uri="http://schemas.openxmlformats.org/drawingml/2006/table">
            <a:tbl>
              <a:tblPr/>
              <a:tblGrid>
                <a:gridCol w="1241316">
                  <a:extLst>
                    <a:ext uri="{9D8B030D-6E8A-4147-A177-3AD203B41FA5}">
                      <a16:colId xmlns:a16="http://schemas.microsoft.com/office/drawing/2014/main" val="3474148300"/>
                    </a:ext>
                  </a:extLst>
                </a:gridCol>
                <a:gridCol w="932155">
                  <a:extLst>
                    <a:ext uri="{9D8B030D-6E8A-4147-A177-3AD203B41FA5}">
                      <a16:colId xmlns:a16="http://schemas.microsoft.com/office/drawing/2014/main" val="3442985315"/>
                    </a:ext>
                  </a:extLst>
                </a:gridCol>
                <a:gridCol w="719091">
                  <a:extLst>
                    <a:ext uri="{9D8B030D-6E8A-4147-A177-3AD203B41FA5}">
                      <a16:colId xmlns:a16="http://schemas.microsoft.com/office/drawing/2014/main" val="1577977531"/>
                    </a:ext>
                  </a:extLst>
                </a:gridCol>
                <a:gridCol w="763480">
                  <a:extLst>
                    <a:ext uri="{9D8B030D-6E8A-4147-A177-3AD203B41FA5}">
                      <a16:colId xmlns:a16="http://schemas.microsoft.com/office/drawing/2014/main" val="2843919186"/>
                    </a:ext>
                  </a:extLst>
                </a:gridCol>
                <a:gridCol w="589204">
                  <a:extLst>
                    <a:ext uri="{9D8B030D-6E8A-4147-A177-3AD203B41FA5}">
                      <a16:colId xmlns:a16="http://schemas.microsoft.com/office/drawing/2014/main" val="20001"/>
                    </a:ext>
                  </a:extLst>
                </a:gridCol>
                <a:gridCol w="698058">
                  <a:extLst>
                    <a:ext uri="{9D8B030D-6E8A-4147-A177-3AD203B41FA5}">
                      <a16:colId xmlns:a16="http://schemas.microsoft.com/office/drawing/2014/main" val="4260854734"/>
                    </a:ext>
                  </a:extLst>
                </a:gridCol>
                <a:gridCol w="815415">
                  <a:extLst>
                    <a:ext uri="{9D8B030D-6E8A-4147-A177-3AD203B41FA5}">
                      <a16:colId xmlns:a16="http://schemas.microsoft.com/office/drawing/2014/main" val="20003"/>
                    </a:ext>
                  </a:extLst>
                </a:gridCol>
                <a:gridCol w="805378">
                  <a:extLst>
                    <a:ext uri="{9D8B030D-6E8A-4147-A177-3AD203B41FA5}">
                      <a16:colId xmlns:a16="http://schemas.microsoft.com/office/drawing/2014/main" val="3353790924"/>
                    </a:ext>
                  </a:extLst>
                </a:gridCol>
                <a:gridCol w="800190">
                  <a:extLst>
                    <a:ext uri="{9D8B030D-6E8A-4147-A177-3AD203B41FA5}">
                      <a16:colId xmlns:a16="http://schemas.microsoft.com/office/drawing/2014/main" val="2937965404"/>
                    </a:ext>
                  </a:extLst>
                </a:gridCol>
                <a:gridCol w="735398">
                  <a:extLst>
                    <a:ext uri="{9D8B030D-6E8A-4147-A177-3AD203B41FA5}">
                      <a16:colId xmlns:a16="http://schemas.microsoft.com/office/drawing/2014/main" val="4121361173"/>
                    </a:ext>
                  </a:extLst>
                </a:gridCol>
                <a:gridCol w="807822">
                  <a:extLst>
                    <a:ext uri="{9D8B030D-6E8A-4147-A177-3AD203B41FA5}">
                      <a16:colId xmlns:a16="http://schemas.microsoft.com/office/drawing/2014/main" val="1841298124"/>
                    </a:ext>
                  </a:extLst>
                </a:gridCol>
                <a:gridCol w="685424">
                  <a:extLst>
                    <a:ext uri="{9D8B030D-6E8A-4147-A177-3AD203B41FA5}">
                      <a16:colId xmlns:a16="http://schemas.microsoft.com/office/drawing/2014/main" val="82921551"/>
                    </a:ext>
                  </a:extLst>
                </a:gridCol>
                <a:gridCol w="628307">
                  <a:extLst>
                    <a:ext uri="{9D8B030D-6E8A-4147-A177-3AD203B41FA5}">
                      <a16:colId xmlns:a16="http://schemas.microsoft.com/office/drawing/2014/main" val="842816921"/>
                    </a:ext>
                  </a:extLst>
                </a:gridCol>
                <a:gridCol w="791502">
                  <a:extLst>
                    <a:ext uri="{9D8B030D-6E8A-4147-A177-3AD203B41FA5}">
                      <a16:colId xmlns:a16="http://schemas.microsoft.com/office/drawing/2014/main" val="2373811148"/>
                    </a:ext>
                  </a:extLst>
                </a:gridCol>
                <a:gridCol w="1011819">
                  <a:extLst>
                    <a:ext uri="{9D8B030D-6E8A-4147-A177-3AD203B41FA5}">
                      <a16:colId xmlns:a16="http://schemas.microsoft.com/office/drawing/2014/main" val="2447932461"/>
                    </a:ext>
                  </a:extLst>
                </a:gridCol>
              </a:tblGrid>
              <a:tr h="410355">
                <a:tc rowSpan="3">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kern="1200" cap="none" normalizeH="0" baseline="0">
                          <a:ln>
                            <a:noFill/>
                          </a:ln>
                          <a:solidFill>
                            <a:schemeClr val="bg1"/>
                          </a:solidFill>
                          <a:effectLst/>
                          <a:latin typeface="+mj-lt"/>
                          <a:ea typeface="+mn-ea"/>
                          <a:cs typeface="+mn-cs"/>
                        </a:rPr>
                        <a:t>Industry Priority Scenario</a:t>
                      </a:r>
                      <a:endParaRPr lang="en-US" sz="1000" b="0" i="0" u="none" strike="noStrike" kern="1200" cap="none" normalizeH="0" baseline="0">
                        <a:ln>
                          <a:noFill/>
                        </a:ln>
                        <a:solidFill>
                          <a:schemeClr val="bg1"/>
                        </a:solidFill>
                        <a:effectLst/>
                        <a:latin typeface="+mn-lt"/>
                        <a:ea typeface="+mn-ea"/>
                        <a:cs typeface="+mn-cs"/>
                      </a:endParaRPr>
                    </a:p>
                  </a:txBody>
                  <a:tcPr marL="45720" marR="45720" anchor="ctr" horzOverflow="overflow">
                    <a:lnL w="6350" cap="flat" cmpd="sng" algn="ctr">
                      <a:no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rowSpan="3">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lang="en-US" sz="1000" b="1" i="0" u="none" strike="noStrike" kern="1200" cap="none" normalizeH="0" baseline="0">
                          <a:ln>
                            <a:noFill/>
                          </a:ln>
                          <a:solidFill>
                            <a:schemeClr val="bg1"/>
                          </a:solidFill>
                          <a:effectLst/>
                          <a:latin typeface="+mn-lt"/>
                          <a:ea typeface="+mn-ea"/>
                          <a:cs typeface="+mn-cs"/>
                        </a:rPr>
                        <a:t>Capability</a:t>
                      </a:r>
                    </a:p>
                  </a:txBody>
                  <a:tcPr marL="45720" marR="45720" anchor="ctr" horzOverflow="overflow">
                    <a:lnL w="190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rowSpan="3">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kern="1200" cap="none" normalizeH="0" baseline="0">
                          <a:ln>
                            <a:noFill/>
                          </a:ln>
                          <a:solidFill>
                            <a:schemeClr val="bg1"/>
                          </a:solidFill>
                          <a:effectLst/>
                          <a:latin typeface="+mj-lt"/>
                          <a:ea typeface="+mn-ea"/>
                          <a:cs typeface="+mn-cs"/>
                        </a:rPr>
                        <a:t>Delivery Date</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rowSpan="3">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kern="1200" cap="none" normalizeH="0" baseline="0">
                          <a:ln>
                            <a:noFill/>
                          </a:ln>
                          <a:solidFill>
                            <a:schemeClr val="bg1"/>
                          </a:solidFill>
                          <a:effectLst/>
                          <a:latin typeface="+mj-lt"/>
                          <a:ea typeface="+mn-ea"/>
                          <a:cs typeface="+mn-cs"/>
                        </a:rPr>
                        <a:t>FSI add-on SKU</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grid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kern="1200" cap="none" normalizeH="0" baseline="0">
                          <a:ln>
                            <a:noFill/>
                          </a:ln>
                          <a:solidFill>
                            <a:schemeClr val="bg1"/>
                          </a:solidFill>
                          <a:effectLst/>
                          <a:latin typeface="+mj-lt"/>
                          <a:ea typeface="+mn-ea"/>
                          <a:cs typeface="+mn-cs"/>
                        </a:rPr>
                        <a:t>M365 </a:t>
                      </a:r>
                    </a:p>
                  </a:txBody>
                  <a:tcPr marL="45720" marR="45720" anchor="ctr" horzOverflow="overflow">
                    <a:lnL w="12700" cap="flat" cmpd="sng" algn="ctr">
                      <a:solidFill>
                        <a:schemeClr val="bg1"/>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0" i="0" u="none" strike="noStrike" kern="1200" cap="none" normalizeH="0" baseline="0">
                        <a:ln>
                          <a:noFill/>
                        </a:ln>
                        <a:solidFill>
                          <a:schemeClr val="bg1"/>
                        </a:solidFill>
                        <a:effectLst/>
                        <a:latin typeface="+mj-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3">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a:ln>
                            <a:noFill/>
                          </a:ln>
                          <a:solidFill>
                            <a:schemeClr val="bg1"/>
                          </a:solidFill>
                          <a:effectLst/>
                          <a:latin typeface="+mj-lt"/>
                        </a:rPr>
                        <a:t>Power Platform</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endParaRPr lang="en-US"/>
                    </a:p>
                  </a:txBody>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100" b="1" i="0" u="none" strike="noStrike" cap="none" normalizeH="0" baseline="0">
                        <a:ln>
                          <a:noFill/>
                        </a:ln>
                        <a:solidFill>
                          <a:schemeClr val="tx1"/>
                        </a:solidFill>
                        <a:effectLst/>
                        <a:latin typeface="+mn-lt"/>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5">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normalizeH="0" baseline="0">
                          <a:ln>
                            <a:noFill/>
                          </a:ln>
                          <a:solidFill>
                            <a:schemeClr val="bg1"/>
                          </a:solidFill>
                          <a:effectLst/>
                          <a:latin typeface="+mj-lt"/>
                          <a:ea typeface="+mn-ea"/>
                          <a:cs typeface="+mn-cs"/>
                        </a:rPr>
                        <a:t>Microsoft Dynamics 365</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endParaRPr lang="en-US"/>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normalizeH="0" baseline="0">
                        <a:ln>
                          <a:noFill/>
                        </a:ln>
                        <a:solidFill>
                          <a:schemeClr val="bg1"/>
                        </a:solidFill>
                        <a:effectLst/>
                        <a:latin typeface="+mj-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p>
                      <a:endParaRPr lang="en-US"/>
                    </a:p>
                  </a:txBody>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0" i="0" u="none" strike="noStrike" cap="none" normalizeH="0" baseline="0">
                          <a:ln>
                            <a:noFill/>
                          </a:ln>
                          <a:solidFill>
                            <a:schemeClr val="bg1"/>
                          </a:solidFill>
                          <a:effectLst/>
                          <a:latin typeface="+mj-lt"/>
                        </a:rPr>
                        <a:t>Microsoft Azure</a:t>
                      </a:r>
                    </a:p>
                  </a:txBody>
                  <a:tcPr marL="45720" marR="45720" anchor="ctr" horzOverflow="overflow">
                    <a:lnL w="190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10000"/>
                  </a:ext>
                </a:extLst>
              </a:tr>
              <a:tr h="515608">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100" b="0" i="0" u="none" strike="noStrike" kern="1200" cap="none" normalizeH="0" baseline="0">
                        <a:ln>
                          <a:noFill/>
                        </a:ln>
                        <a:solidFill>
                          <a:schemeClr val="accent1"/>
                        </a:solidFill>
                        <a:effectLst/>
                        <a:latin typeface="+mn-lt"/>
                        <a:ea typeface="+mn-ea"/>
                        <a:cs typeface="+mn-cs"/>
                      </a:endParaRPr>
                    </a:p>
                  </a:txBody>
                  <a:tcPr marL="91561" marR="91561" marB="91440" anchor="ctr" horzOverflow="overflow">
                    <a:lnL w="6350" cap="flat" cmpd="sng" algn="ctr">
                      <a:solidFill>
                        <a:schemeClr val="bg1">
                          <a:lumMod val="65000"/>
                        </a:schemeClr>
                      </a:solidFill>
                      <a:prstDash val="solid"/>
                      <a:round/>
                      <a:headEnd type="none" w="med" len="med"/>
                      <a:tailEnd type="none" w="med" len="med"/>
                    </a:lnL>
                  </a:tcPr>
                </a:tc>
                <a:tc vMerge="1">
                  <a:txBody>
                    <a:bodyPr/>
                    <a:lstStyle/>
                    <a:p>
                      <a:endParaRPr lang="en-US"/>
                    </a:p>
                  </a:txBody>
                  <a:tcPr>
                    <a:lnT w="19050" cap="flat" cmpd="sng" algn="ctr">
                      <a:solidFill>
                        <a:schemeClr val="bg1">
                          <a:lumMod val="75000"/>
                        </a:schemeClr>
                      </a:solidFill>
                      <a:prstDash val="solid"/>
                      <a:round/>
                      <a:headEnd type="none" w="med" len="med"/>
                      <a:tailEnd type="none" w="med" len="med"/>
                    </a:lnT>
                  </a:tcPr>
                </a:tc>
                <a:tc vMerge="1">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850">
                        <a:solidFill>
                          <a:schemeClr val="bg1"/>
                        </a:solidFill>
                        <a:latin typeface="+mn-lt"/>
                      </a:endParaRP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850">
                        <a:solidFill>
                          <a:schemeClr val="bg1"/>
                        </a:solidFill>
                        <a:latin typeface="+mn-lt"/>
                      </a:endParaRP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850" b="0" i="0" u="none" strike="noStrike" kern="1200" cap="none" normalizeH="0" baseline="0">
                          <a:ln>
                            <a:noFill/>
                          </a:ln>
                          <a:solidFill>
                            <a:schemeClr val="bg1"/>
                          </a:solidFill>
                          <a:effectLst/>
                          <a:latin typeface="+mn-lt"/>
                          <a:ea typeface="+mn-ea"/>
                          <a:cs typeface="+mn-cs"/>
                        </a:rPr>
                        <a:t>M365 E3+</a:t>
                      </a:r>
                      <a:endParaRPr kumimoji="0" lang="en-US" sz="850">
                        <a:solidFill>
                          <a:schemeClr val="bg1"/>
                        </a:solidFill>
                        <a:latin typeface="+mn-lt"/>
                      </a:endParaRPr>
                    </a:p>
                  </a:txBody>
                  <a:tcPr marL="45720" marR="45720" anchor="ctr" horzOverflow="overflow">
                    <a:lnL w="12700" cap="flat" cmpd="sng" algn="ctr">
                      <a:solidFill>
                        <a:schemeClr val="bg1"/>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850">
                          <a:solidFill>
                            <a:schemeClr val="bg1"/>
                          </a:solidFill>
                          <a:latin typeface="+mn-lt"/>
                        </a:rPr>
                        <a:t>MS Project</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lang="en-US" sz="850" b="0" i="0" u="none" strike="noStrike" cap="none" normalizeH="0" baseline="0">
                          <a:ln>
                            <a:noFill/>
                          </a:ln>
                          <a:solidFill>
                            <a:schemeClr val="bg1"/>
                          </a:solidFill>
                          <a:effectLst/>
                          <a:latin typeface="+mn-lt"/>
                        </a:rPr>
                        <a:t>Power Apps</a:t>
                      </a:r>
                      <a:endParaRPr kumimoji="0" lang="en-US" sz="850">
                        <a:solidFill>
                          <a:schemeClr val="bg1"/>
                        </a:solidFill>
                        <a:latin typeface="+mn-lt"/>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lang="en-US" sz="850" b="0" i="0" u="none" strike="noStrike" cap="none" normalizeH="0" baseline="0">
                          <a:ln>
                            <a:noFill/>
                          </a:ln>
                          <a:solidFill>
                            <a:schemeClr val="bg1"/>
                          </a:solidFill>
                          <a:effectLst/>
                          <a:latin typeface="+mn-lt"/>
                        </a:rPr>
                        <a:t>Power Automate</a:t>
                      </a:r>
                      <a:endParaRPr kumimoji="0" lang="en-US" sz="850">
                        <a:solidFill>
                          <a:schemeClr val="bg1"/>
                        </a:solidFill>
                        <a:latin typeface="+mn-lt"/>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latinLnBrk="0" hangingPunct="1">
                        <a:lnSpc>
                          <a:spcPct val="106000"/>
                        </a:lnSpc>
                        <a:spcBef>
                          <a:spcPct val="50000"/>
                        </a:spcBef>
                        <a:spcAft>
                          <a:spcPct val="0"/>
                        </a:spcAft>
                        <a:buFont typeface="Arial" panose="020B0604020202020204" pitchFamily="34" charset="0"/>
                        <a:buNone/>
                      </a:pPr>
                      <a:r>
                        <a:rPr lang="en-US" sz="850" b="0" i="0" u="none" strike="noStrike" kern="1200" cap="none" normalizeH="0" baseline="0">
                          <a:ln>
                            <a:noFill/>
                          </a:ln>
                          <a:solidFill>
                            <a:schemeClr val="bg1"/>
                          </a:solidFill>
                          <a:effectLst/>
                          <a:latin typeface="+mn-lt"/>
                          <a:ea typeface="+mn-ea"/>
                          <a:cs typeface="+mn-cs"/>
                        </a:rPr>
                        <a:t>Power BI</a:t>
                      </a:r>
                    </a:p>
                  </a:txBody>
                  <a:tcPr marL="45720" marR="45720" anchor="ctr" horzOverflow="overflow">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chemeClr val="bg1"/>
                          </a:solidFill>
                          <a:effectLst/>
                          <a:uLnTx/>
                          <a:uFillTx/>
                          <a:latin typeface="+mn-lt"/>
                          <a:ea typeface="+mn-ea"/>
                          <a:cs typeface="+mn-cs"/>
                        </a:rPr>
                        <a:t>Customer Insights</a:t>
                      </a:r>
                    </a:p>
                  </a:txBody>
                  <a:tcPr marL="0" marR="0" marT="0" marB="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lang="en-US" sz="850" b="0" i="0" u="none" strike="noStrike" cap="none" normalizeH="0" baseline="0">
                          <a:ln>
                            <a:noFill/>
                          </a:ln>
                          <a:solidFill>
                            <a:schemeClr val="bg1"/>
                          </a:solidFill>
                          <a:effectLst/>
                          <a:latin typeface="+mn-lt"/>
                        </a:rPr>
                        <a:t>Customer Service Enterprise</a:t>
                      </a:r>
                      <a:endParaRPr kumimoji="0" lang="en-US" sz="850">
                        <a:solidFill>
                          <a:schemeClr val="bg1"/>
                        </a:solidFill>
                        <a:latin typeface="+mn-lt"/>
                      </a:endParaRPr>
                    </a:p>
                  </a:txBody>
                  <a:tcPr marL="0" marR="0" marT="0" marB="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Segoe UI"/>
                          <a:ea typeface="+mn-ea"/>
                          <a:cs typeface="+mn-cs"/>
                        </a:rPr>
                        <a:t>Digital Messaging  </a:t>
                      </a:r>
                    </a:p>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Segoe UI"/>
                          <a:ea typeface="+mn-ea"/>
                          <a:cs typeface="+mn-cs"/>
                        </a:rPr>
                        <a:t>add -on</a:t>
                      </a:r>
                    </a:p>
                  </a:txBody>
                  <a:tcPr marL="0" marR="0" marT="0" marB="0" anchor="ctr" horzOverflow="overflow">
                    <a:lnL w="635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mn-lt"/>
                          <a:ea typeface="+mn-ea"/>
                          <a:cs typeface="+mn-cs"/>
                        </a:rPr>
                        <a:t>Sales Enterprise</a:t>
                      </a:r>
                    </a:p>
                  </a:txBody>
                  <a:tcPr marL="0" marR="0" marT="0" marB="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mn-lt"/>
                          <a:ea typeface="+mn-ea"/>
                          <a:cs typeface="+mn-cs"/>
                        </a:rPr>
                        <a:t>Customer Voice </a:t>
                      </a:r>
                    </a:p>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1" u="none" strike="noStrike" kern="1200" cap="none" spc="0" normalizeH="0" baseline="0" noProof="0">
                          <a:ln>
                            <a:noFill/>
                          </a:ln>
                          <a:solidFill>
                            <a:srgbClr val="FFFFFF"/>
                          </a:solidFill>
                          <a:effectLst/>
                          <a:uLnTx/>
                          <a:uFillTx/>
                          <a:latin typeface="+mn-lt"/>
                          <a:ea typeface="+mn-ea"/>
                          <a:cs typeface="+mn-cs"/>
                        </a:rPr>
                        <a:t>(</a:t>
                      </a:r>
                      <a:r>
                        <a:rPr kumimoji="0" lang="en-US" sz="850" b="0" i="1" u="none" strike="noStrike" kern="1200" cap="none" spc="0" normalizeH="0" baseline="0" noProof="0" err="1">
                          <a:ln>
                            <a:noFill/>
                          </a:ln>
                          <a:solidFill>
                            <a:srgbClr val="FFFFFF"/>
                          </a:solidFill>
                          <a:effectLst/>
                          <a:uLnTx/>
                          <a:uFillTx/>
                          <a:latin typeface="+mn-lt"/>
                          <a:ea typeface="+mn-ea"/>
                          <a:cs typeface="+mn-cs"/>
                        </a:rPr>
                        <a:t>fmr</a:t>
                      </a:r>
                      <a:r>
                        <a:rPr kumimoji="0" lang="en-US" sz="850" b="0" i="1" u="none" strike="noStrike" kern="1200" cap="none" spc="0" normalizeH="0" baseline="0" noProof="0">
                          <a:ln>
                            <a:noFill/>
                          </a:ln>
                          <a:solidFill>
                            <a:srgbClr val="FFFFFF"/>
                          </a:solidFill>
                          <a:effectLst/>
                          <a:uLnTx/>
                          <a:uFillTx/>
                          <a:latin typeface="+mn-lt"/>
                          <a:ea typeface="+mn-ea"/>
                          <a:cs typeface="+mn-cs"/>
                        </a:rPr>
                        <a:t>. Forms Pro)</a:t>
                      </a:r>
                    </a:p>
                  </a:txBody>
                  <a:tcPr marL="0" marR="0" marT="0" marB="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Azure Meters</a:t>
                      </a:r>
                    </a:p>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See **)</a:t>
                      </a:r>
                    </a:p>
                  </a:txBody>
                  <a:tcPr marL="0" marR="0" marT="0" marB="0" anchor="ctr" horzOverflow="overflow">
                    <a:lnL w="952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473352544"/>
                  </a:ext>
                </a:extLst>
              </a:tr>
              <a:tr h="219617">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lang="en-US" sz="1000" b="0" i="0" u="none" strike="noStrike" kern="1200" cap="none" normalizeH="0" baseline="0">
                        <a:ln>
                          <a:noFill/>
                        </a:ln>
                        <a:solidFill>
                          <a:schemeClr val="bg1"/>
                        </a:solidFill>
                        <a:effectLst/>
                        <a:latin typeface="+mn-lt"/>
                        <a:ea typeface="+mn-ea"/>
                        <a:cs typeface="+mn-cs"/>
                      </a:endParaRPr>
                    </a:p>
                  </a:txBody>
                  <a:tcPr marL="45720" marR="45720" anchor="ctr" horzOverflow="overflow">
                    <a:lnL w="6350" cap="flat" cmpd="sng" algn="ctr">
                      <a:no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lang="en-US" sz="1000" b="1" i="0" u="none" strike="noStrike" kern="1200" cap="none" normalizeH="0" baseline="0">
                        <a:ln>
                          <a:noFill/>
                        </a:ln>
                        <a:solidFill>
                          <a:schemeClr val="bg1"/>
                        </a:solidFill>
                        <a:effectLst/>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vMerge="1">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850">
                        <a:solidFill>
                          <a:schemeClr val="bg1"/>
                        </a:solidFill>
                        <a:latin typeface="+mn-lt"/>
                      </a:endParaRP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850">
                        <a:solidFill>
                          <a:schemeClr val="bg1"/>
                        </a:solidFill>
                        <a:latin typeface="+mn-lt"/>
                      </a:endParaRP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850">
                          <a:solidFill>
                            <a:schemeClr val="bg1"/>
                          </a:solidFill>
                          <a:latin typeface="+mn-lt"/>
                        </a:rPr>
                        <a:t>Per user</a:t>
                      </a:r>
                    </a:p>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850">
                          <a:solidFill>
                            <a:schemeClr val="bg1"/>
                          </a:solidFill>
                          <a:latin typeface="+mn-lt"/>
                        </a:rPr>
                        <a:t>($20)</a:t>
                      </a:r>
                    </a:p>
                  </a:txBody>
                  <a:tcPr marL="45720" marR="45720" anchor="ctr" horzOverflow="overflow">
                    <a:lnL w="12700" cap="flat" cmpd="sng" algn="ctr">
                      <a:solidFill>
                        <a:schemeClr val="bg1"/>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850">
                          <a:solidFill>
                            <a:schemeClr val="bg1"/>
                          </a:solidFill>
                          <a:latin typeface="+mn-lt"/>
                        </a:rPr>
                        <a:t>Per user</a:t>
                      </a:r>
                    </a:p>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850">
                          <a:solidFill>
                            <a:schemeClr val="bg1"/>
                          </a:solidFill>
                          <a:latin typeface="+mn-lt"/>
                        </a:rPr>
                        <a:t>($10)</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Per user or per app</a:t>
                      </a:r>
                    </a:p>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10)</a:t>
                      </a: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Per user or per flow</a:t>
                      </a:r>
                    </a:p>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15)</a:t>
                      </a: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Per user or tenant</a:t>
                      </a:r>
                    </a:p>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10)</a:t>
                      </a:r>
                    </a:p>
                  </a:txBody>
                  <a:tcPr marL="45720" marR="45720" anchor="ctr" horzOverflow="overflow">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altLang="zh-CN" sz="850" b="0" i="0" u="none" strike="noStrike" kern="1200" cap="none" spc="0" normalizeH="0" baseline="0" noProof="0">
                          <a:ln>
                            <a:noFill/>
                          </a:ln>
                          <a:solidFill>
                            <a:schemeClr val="bg1"/>
                          </a:solidFill>
                          <a:effectLst/>
                          <a:uLnTx/>
                          <a:uFillTx/>
                          <a:latin typeface="+mn-lt"/>
                          <a:ea typeface="+mn-ea"/>
                          <a:cs typeface="+mn-cs"/>
                        </a:rPr>
                        <a:t>Per tenant</a:t>
                      </a:r>
                    </a:p>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chemeClr val="bg1"/>
                          </a:solidFill>
                          <a:effectLst/>
                          <a:uLnTx/>
                          <a:uFillTx/>
                          <a:latin typeface="+mn-lt"/>
                          <a:ea typeface="+mn-ea"/>
                          <a:cs typeface="+mn-cs"/>
                        </a:rPr>
                        <a:t>($1,500)</a:t>
                      </a:r>
                    </a:p>
                  </a:txBody>
                  <a:tcPr marL="0" marR="0" marT="0" marB="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Per user</a:t>
                      </a:r>
                    </a:p>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95)</a:t>
                      </a:r>
                    </a:p>
                  </a:txBody>
                  <a:tcPr marL="0" marR="0" marT="0" marB="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Segoe UI"/>
                          <a:ea typeface="+mn-ea"/>
                          <a:cs typeface="+mn-cs"/>
                        </a:rPr>
                        <a:t>Per user</a:t>
                      </a:r>
                    </a:p>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Segoe UI"/>
                          <a:ea typeface="+mn-ea"/>
                          <a:cs typeface="+mn-cs"/>
                        </a:rPr>
                        <a:t>($75)</a:t>
                      </a:r>
                    </a:p>
                  </a:txBody>
                  <a:tcPr marL="0" marR="0" marT="0" marB="0" anchor="ctr" horzOverflow="overflow">
                    <a:lnL w="635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mn-lt"/>
                          <a:ea typeface="+mn-ea"/>
                          <a:cs typeface="+mn-cs"/>
                        </a:rPr>
                        <a:t>Per user</a:t>
                      </a:r>
                    </a:p>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mn-lt"/>
                          <a:ea typeface="+mn-ea"/>
                          <a:cs typeface="+mn-cs"/>
                        </a:rPr>
                        <a:t>($95)</a:t>
                      </a:r>
                    </a:p>
                  </a:txBody>
                  <a:tcPr marL="0" marR="0" marT="0" marB="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FFFFFF"/>
                          </a:solidFill>
                          <a:effectLst/>
                          <a:uLnTx/>
                          <a:uFillTx/>
                          <a:latin typeface="+mn-lt"/>
                          <a:ea typeface="+mn-ea"/>
                          <a:cs typeface="+mn-cs"/>
                        </a:rPr>
                        <a:t>Per tenant</a:t>
                      </a:r>
                    </a:p>
                  </a:txBody>
                  <a:tcPr marL="0" marR="0" marT="0" marB="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lnSpc>
                          <a:spcPct val="106000"/>
                        </a:lnSpc>
                        <a:spcBef>
                          <a:spcPct val="50000"/>
                        </a:spcBef>
                        <a:spcAft>
                          <a:spcPct val="0"/>
                        </a:spcAft>
                        <a:buFont typeface="Arial" panose="020B0604020202020204" pitchFamily="34" charset="0"/>
                        <a:buNone/>
                      </a:pPr>
                      <a:r>
                        <a:rPr kumimoji="0" lang="en-US" sz="850">
                          <a:solidFill>
                            <a:schemeClr val="bg1"/>
                          </a:solidFill>
                          <a:latin typeface="+mn-lt"/>
                        </a:rPr>
                        <a:t>Metered</a:t>
                      </a:r>
                    </a:p>
                  </a:txBody>
                  <a:tcPr marL="0" marR="0" marT="0" marB="0" anchor="ctr" horzOverflow="overflow">
                    <a:lnL w="952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040363913"/>
                  </a:ext>
                </a:extLst>
              </a:tr>
              <a:tr h="564452">
                <a:tc rowSpan="3">
                  <a:txBody>
                    <a:bodyPr/>
                    <a:lstStyle/>
                    <a:p>
                      <a:pPr marL="0" marR="0" lvl="0" indent="0" algn="l"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lang="en-US" sz="1000" b="1" i="0" u="none" strike="noStrike" kern="1200" cap="none" normalizeH="0" baseline="0">
                          <a:ln>
                            <a:noFill/>
                          </a:ln>
                          <a:solidFill>
                            <a:srgbClr val="00B0F0"/>
                          </a:solidFill>
                          <a:effectLst/>
                          <a:latin typeface="+mn-lt"/>
                          <a:ea typeface="+mn-ea"/>
                          <a:cs typeface="+mn-cs"/>
                        </a:rPr>
                        <a:t>Differentiated Customer Experience</a:t>
                      </a:r>
                    </a:p>
                  </a:txBody>
                  <a:tcPr marL="45720" marR="4572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l"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lang="en-US" sz="1000" b="1" i="0" u="none" strike="noStrike" kern="1200" cap="none" normalizeH="0" baseline="0">
                          <a:ln>
                            <a:noFill/>
                          </a:ln>
                          <a:solidFill>
                            <a:schemeClr val="bg1"/>
                          </a:solidFill>
                          <a:effectLst/>
                          <a:latin typeface="+mn-lt"/>
                          <a:ea typeface="+mn-ea"/>
                          <a:cs typeface="+mn-cs"/>
                        </a:rPr>
                        <a:t>Unified Customer Profile</a:t>
                      </a:r>
                    </a:p>
                  </a:txBody>
                  <a:tcPr marL="45720" marR="45720" anchor="ctr">
                    <a:lnL w="12700" cap="flat" cmpd="sng" algn="ctr">
                      <a:solidFill>
                        <a:schemeClr val="bg1"/>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Segoe UI"/>
                          <a:ea typeface="+mn-ea"/>
                          <a:cs typeface="+mn-cs"/>
                        </a:rPr>
                        <a:t>GA</a:t>
                      </a:r>
                    </a:p>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Segoe UI"/>
                          <a:ea typeface="+mn-ea"/>
                          <a:cs typeface="+mn-cs"/>
                        </a:rPr>
                        <a:t>(Nov2021)</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9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mn-lt"/>
                          <a:ea typeface="+mn-ea"/>
                          <a:cs typeface="+mn-cs"/>
                        </a:rPr>
                        <a:t>Included in Power Apps</a:t>
                      </a: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9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64452">
                <a:tc vMerge="1">
                  <a:txBody>
                    <a:bodyPr/>
                    <a:lstStyle/>
                    <a:p>
                      <a:endParaRPr lang="en-US"/>
                    </a:p>
                  </a:txBody>
                  <a:tcPr>
                    <a:lnT w="12700" cap="flat" cmpd="sng" algn="ctr">
                      <a:solidFill>
                        <a:schemeClr val="bg1"/>
                      </a:solidFill>
                      <a:prstDash val="solid"/>
                      <a:round/>
                      <a:headEnd type="none" w="med" len="med"/>
                      <a:tailEnd type="none" w="med" len="med"/>
                    </a:lnT>
                  </a:tcPr>
                </a:tc>
                <a:tc>
                  <a:txBody>
                    <a:bodyPr/>
                    <a:lstStyle/>
                    <a:p>
                      <a:pPr marL="0" marR="0" lvl="0" indent="0" algn="l"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lang="en-US" sz="1000" b="1" i="0" u="none" strike="noStrike" kern="1200" cap="none" normalizeH="0" baseline="0">
                          <a:ln>
                            <a:noFill/>
                          </a:ln>
                          <a:solidFill>
                            <a:schemeClr val="bg1"/>
                          </a:solidFill>
                          <a:effectLst/>
                          <a:latin typeface="+mn-lt"/>
                          <a:ea typeface="+mn-ea"/>
                          <a:cs typeface="+mn-cs"/>
                        </a:rPr>
                        <a:t>Banking Customer Engagement</a:t>
                      </a:r>
                    </a:p>
                  </a:txBody>
                  <a:tcPr marL="45720" marR="45720" anchor="ctr">
                    <a:lnL w="12700" cap="flat" cmpd="sng" algn="ctr">
                      <a:solidFill>
                        <a:schemeClr val="bg1"/>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Segoe UI"/>
                          <a:ea typeface="+mn-ea"/>
                          <a:cs typeface="+mn-cs"/>
                        </a:rPr>
                        <a:t>Preview </a:t>
                      </a:r>
                    </a:p>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Segoe UI"/>
                          <a:ea typeface="+mn-ea"/>
                          <a:cs typeface="+mn-cs"/>
                        </a:rPr>
                        <a:t>(Nov2021)</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1"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Included in </a:t>
                      </a:r>
                    </a:p>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1"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D365 Enterprise</a:t>
                      </a:r>
                      <a:endParaRPr kumimoji="0" lang="en-US" sz="900" b="0" i="1"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1"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2,000 included</a:t>
                      </a:r>
                      <a:endParaRPr kumimoji="0" lang="en-US" sz="900" b="0" i="1"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806521"/>
                  </a:ext>
                </a:extLst>
              </a:tr>
              <a:tr h="564452">
                <a:tc vMerge="1">
                  <a:txBody>
                    <a:bodyPr/>
                    <a:lstStyle/>
                    <a:p>
                      <a:pPr marL="0" marR="0" lvl="0" indent="0" algn="l"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endParaRPr lang="en-US" sz="1000" b="1" i="0" u="none" strike="noStrike" kern="1200" cap="none" normalizeH="0" baseline="0">
                        <a:ln>
                          <a:noFill/>
                        </a:ln>
                        <a:solidFill>
                          <a:srgbClr val="00B0F0"/>
                        </a:solidFill>
                        <a:effectLst/>
                        <a:latin typeface="+mn-lt"/>
                        <a:ea typeface="+mn-ea"/>
                        <a:cs typeface="+mn-cs"/>
                      </a:endParaRPr>
                    </a:p>
                  </a:txBody>
                  <a:tcPr marL="45720" marR="45720" anchor="ctr">
                    <a:lnL w="6350" cap="flat" cmpd="sng" algn="ctr">
                      <a:no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l"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lang="en-US" sz="1000" b="1" i="0" u="none" strike="noStrike" kern="1200" cap="none" normalizeH="0" baseline="0">
                          <a:ln>
                            <a:noFill/>
                          </a:ln>
                          <a:solidFill>
                            <a:schemeClr val="bg1"/>
                          </a:solidFill>
                          <a:effectLst/>
                          <a:latin typeface="+mn-lt"/>
                          <a:ea typeface="+mn-ea"/>
                          <a:cs typeface="+mn-cs"/>
                        </a:rPr>
                        <a:t>Customer Onboarding</a:t>
                      </a:r>
                    </a:p>
                  </a:txBody>
                  <a:tcPr marL="45720" marR="45720" anchor="ctr">
                    <a:lnL w="12700" cap="flat" cmpd="sng" algn="ctr">
                      <a:solidFill>
                        <a:schemeClr val="bg1"/>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mn-lt"/>
                          <a:ea typeface="+mn-ea"/>
                          <a:cs typeface="+mn-cs"/>
                        </a:rPr>
                        <a:t>GA</a:t>
                      </a:r>
                    </a:p>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mn-lt"/>
                          <a:ea typeface="+mn-ea"/>
                          <a:cs typeface="+mn-cs"/>
                        </a:rPr>
                        <a:t>(Nov2021)</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900" b="0" i="0" u="none" strike="noStrike" kern="1200" cap="none" spc="0" normalizeH="0" baseline="0" noProof="0">
                          <a:ln>
                            <a:noFill/>
                          </a:ln>
                          <a:solidFill>
                            <a:srgbClr val="0078D4"/>
                          </a:solidFill>
                          <a:effectLst/>
                          <a:uLnTx/>
                          <a:uFillTx/>
                          <a:latin typeface="+mn-lt"/>
                          <a:ea typeface="+mn-ea"/>
                          <a:cs typeface="+mn-cs"/>
                          <a:sym typeface="Wingdings" panose="05000000000000000000" pitchFamily="2" charset="2"/>
                        </a:rPr>
                        <a:t></a:t>
                      </a:r>
                      <a:endParaRPr lang="en-US" sz="900" b="0" i="0"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900" b="0" i="0" u="none" strike="noStrike" kern="1200" cap="none" spc="0" normalizeH="0" baseline="0" noProof="0">
                          <a:ln>
                            <a:noFill/>
                          </a:ln>
                          <a:solidFill>
                            <a:srgbClr val="0078D4"/>
                          </a:solidFill>
                          <a:effectLst/>
                          <a:uLnTx/>
                          <a:uFillTx/>
                          <a:latin typeface="+mn-lt"/>
                          <a:ea typeface="+mn-ea"/>
                          <a:cs typeface="+mn-cs"/>
                        </a:rPr>
                        <a:t>Included in Power Apps</a:t>
                      </a:r>
                    </a:p>
                  </a:txBody>
                  <a:tcPr marL="45720" marR="4572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12700" cap="flat" cmpd="sng" algn="ctr">
                      <a:solidFill>
                        <a:schemeClr val="bg2">
                          <a:lumMod val="90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rgbClr val="FF0000"/>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257010"/>
                  </a:ext>
                </a:extLst>
              </a:tr>
              <a:tr h="564452">
                <a:tc>
                  <a:txBody>
                    <a:bodyPr/>
                    <a:lstStyle/>
                    <a:p>
                      <a:pPr marL="0" marR="0" lvl="0" indent="0" algn="l" defTabSz="932742" rtl="0" eaLnBrk="1" fontAlgn="auto" latinLnBrk="0" hangingPunct="1">
                        <a:lnSpc>
                          <a:spcPct val="106000"/>
                        </a:lnSpc>
                        <a:spcBef>
                          <a:spcPct val="50000"/>
                        </a:spcBef>
                        <a:spcAft>
                          <a:spcPct val="0"/>
                        </a:spcAft>
                        <a:buClrTx/>
                        <a:buSzTx/>
                        <a:buFont typeface="Arial" panose="020B0604020202020204" pitchFamily="34" charset="0"/>
                        <a:buNone/>
                        <a:tabLst/>
                        <a:defRPr/>
                      </a:pPr>
                      <a:r>
                        <a:rPr lang="en-US" sz="1000" b="1" i="0" u="none" strike="noStrike" kern="1200" cap="none" normalizeH="0" baseline="0">
                          <a:ln>
                            <a:noFill/>
                          </a:ln>
                          <a:solidFill>
                            <a:srgbClr val="00B0F0"/>
                          </a:solidFill>
                          <a:effectLst/>
                          <a:latin typeface="+mn-lt"/>
                          <a:ea typeface="+mn-ea"/>
                          <a:cs typeface="+mn-cs"/>
                        </a:rPr>
                        <a:t>Empower Collaboration</a:t>
                      </a:r>
                    </a:p>
                  </a:txBody>
                  <a:tcPr marL="45720" marR="45720" anchor="ctr">
                    <a:lnL w="6350" cap="flat" cmpd="sng" algn="ctr">
                      <a:no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l" defTabSz="932742" rtl="0" eaLnBrk="1" latinLnBrk="0" hangingPunct="1">
                        <a:lnSpc>
                          <a:spcPct val="106000"/>
                        </a:lnSpc>
                        <a:spcBef>
                          <a:spcPct val="50000"/>
                        </a:spcBef>
                        <a:spcAft>
                          <a:spcPct val="0"/>
                        </a:spcAft>
                        <a:buFont typeface="Arial" panose="020B0604020202020204" pitchFamily="34" charset="0"/>
                        <a:buNone/>
                      </a:pPr>
                      <a:r>
                        <a:rPr lang="en-US" sz="1000" b="1" i="0" u="none" strike="noStrike" kern="1200" cap="none" normalizeH="0" baseline="0">
                          <a:ln>
                            <a:noFill/>
                          </a:ln>
                          <a:solidFill>
                            <a:schemeClr val="bg1"/>
                          </a:solidFill>
                          <a:effectLst/>
                          <a:latin typeface="+mn-lt"/>
                          <a:ea typeface="+mn-ea"/>
                          <a:cs typeface="+mn-cs"/>
                        </a:rPr>
                        <a:t>Collaboration Manager</a:t>
                      </a:r>
                    </a:p>
                  </a:txBody>
                  <a:tcPr marL="45720" marR="4572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mn-lt"/>
                          <a:ea typeface="+mn-ea"/>
                          <a:cs typeface="+mn-cs"/>
                        </a:rPr>
                        <a:t>GA</a:t>
                      </a:r>
                    </a:p>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pPr>
                      <a:r>
                        <a:rPr kumimoji="0" lang="en-US" sz="900" b="0" i="0" u="none" strike="noStrike" kern="1200" cap="none" spc="0" normalizeH="0" baseline="0" noProof="0">
                          <a:ln>
                            <a:noFill/>
                          </a:ln>
                          <a:solidFill>
                            <a:srgbClr val="0078D4"/>
                          </a:solidFill>
                          <a:effectLst/>
                          <a:uLnTx/>
                          <a:uFillTx/>
                          <a:latin typeface="+mn-lt"/>
                          <a:ea typeface="+mn-ea"/>
                          <a:cs typeface="+mn-cs"/>
                        </a:rPr>
                        <a:t>(Nov2021)</a:t>
                      </a: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p>
                    <a:p>
                      <a:pPr marL="0" marR="0" lvl="0" indent="0" algn="ctr" defTabSz="914400" rtl="0" eaLnBrk="1" fontAlgn="auto"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post GA)</a:t>
                      </a: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a:t>
                      </a:r>
                    </a:p>
                  </a:txBody>
                  <a:tcPr marL="0" marR="0" marT="0" marB="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r>
                        <a:rPr kumimoji="0" lang="en-US" sz="900" b="0" i="0" u="none" strike="noStrike" kern="1200" cap="none" spc="0" normalizeH="0" baseline="0" noProof="0">
                          <a:ln>
                            <a:noFill/>
                          </a:ln>
                          <a:solidFill>
                            <a:srgbClr val="0078D4"/>
                          </a:solidFill>
                          <a:effectLst/>
                          <a:uLnTx/>
                          <a:uFillTx/>
                          <a:latin typeface="+mn-lt"/>
                          <a:ea typeface="+mn-ea"/>
                          <a:cs typeface="+mn-cs"/>
                        </a:rPr>
                        <a:t>Included in Power Apps</a:t>
                      </a:r>
                      <a:endParaRPr kumimoji="0" lang="en-US" sz="900" b="0" i="1"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chemeClr val="bg1">
                            <a:lumMod val="65000"/>
                          </a:schemeClr>
                        </a:solidFill>
                        <a:effectLst/>
                        <a:uLnTx/>
                        <a:uFillTx/>
                        <a:latin typeface="+mn-lt"/>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190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a:lnSpc>
                          <a:spcPct val="106000"/>
                        </a:lnSpc>
                        <a:spcBef>
                          <a:spcPct val="50000"/>
                        </a:spcBef>
                        <a:spcAft>
                          <a:spcPct val="0"/>
                        </a:spcAft>
                        <a:buClr>
                          <a:schemeClr val="tx1"/>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635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Segoe UI"/>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6000"/>
                        </a:lnSpc>
                        <a:spcBef>
                          <a:spcPct val="50000"/>
                        </a:spcBef>
                        <a:spcAft>
                          <a:spcPct val="0"/>
                        </a:spcAft>
                        <a:buClr>
                          <a:srgbClr val="000000"/>
                        </a:buClr>
                        <a:buSzTx/>
                        <a:buFont typeface="Arial" panose="020B0604020202020204" pitchFamily="34" charset="0"/>
                        <a:buNone/>
                        <a:tabLst/>
                        <a:defRPr/>
                      </a:pPr>
                      <a:endParaRPr kumimoji="0" lang="en-US" sz="900" b="0" i="0" u="none" strike="noStrike" kern="1200" cap="none" spc="0" normalizeH="0" baseline="0" noProof="0">
                        <a:ln>
                          <a:noFill/>
                        </a:ln>
                        <a:solidFill>
                          <a:srgbClr val="0078D4"/>
                        </a:solidFill>
                        <a:effectLst/>
                        <a:uLnTx/>
                        <a:uFillTx/>
                        <a:latin typeface="+mn-lt"/>
                        <a:ea typeface="+mn-ea"/>
                        <a:cs typeface="+mn-cs"/>
                      </a:endParaRPr>
                    </a:p>
                  </a:txBody>
                  <a:tcPr marL="45720" marR="45720" anchor="ctr" horzOverflow="overflow">
                    <a:lnL w="952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7013751"/>
                  </a:ext>
                </a:extLst>
              </a:tr>
            </a:tbl>
          </a:graphicData>
        </a:graphic>
      </p:graphicFrame>
      <p:graphicFrame>
        <p:nvGraphicFramePr>
          <p:cNvPr id="9" name="Table 8">
            <a:extLst>
              <a:ext uri="{FF2B5EF4-FFF2-40B4-BE49-F238E27FC236}">
                <a16:creationId xmlns:a16="http://schemas.microsoft.com/office/drawing/2014/main" id="{B57ADD40-81EF-47D2-91AF-BDD72080824A}"/>
              </a:ext>
            </a:extLst>
          </p:cNvPr>
          <p:cNvGraphicFramePr>
            <a:graphicFrameLocks noGrp="1"/>
          </p:cNvGraphicFramePr>
          <p:nvPr/>
        </p:nvGraphicFramePr>
        <p:xfrm>
          <a:off x="108090" y="998311"/>
          <a:ext cx="2286000" cy="243840"/>
        </p:xfrm>
        <a:graphic>
          <a:graphicData uri="http://schemas.openxmlformats.org/drawingml/2006/table">
            <a:tbl>
              <a:tblPr firstRow="1" bandRow="1">
                <a:tableStyleId>{5C22544A-7EE6-4342-B048-85BDC9FD1C3A}</a:tableStyleId>
              </a:tblPr>
              <a:tblGrid>
                <a:gridCol w="274320">
                  <a:extLst>
                    <a:ext uri="{9D8B030D-6E8A-4147-A177-3AD203B41FA5}">
                      <a16:colId xmlns:a16="http://schemas.microsoft.com/office/drawing/2014/main" val="142174103"/>
                    </a:ext>
                  </a:extLst>
                </a:gridCol>
                <a:gridCol w="914400">
                  <a:extLst>
                    <a:ext uri="{9D8B030D-6E8A-4147-A177-3AD203B41FA5}">
                      <a16:colId xmlns:a16="http://schemas.microsoft.com/office/drawing/2014/main" val="1979706236"/>
                    </a:ext>
                  </a:extLst>
                </a:gridCol>
                <a:gridCol w="182880">
                  <a:extLst>
                    <a:ext uri="{9D8B030D-6E8A-4147-A177-3AD203B41FA5}">
                      <a16:colId xmlns:a16="http://schemas.microsoft.com/office/drawing/2014/main" val="2472517808"/>
                    </a:ext>
                  </a:extLst>
                </a:gridCol>
                <a:gridCol w="914400">
                  <a:extLst>
                    <a:ext uri="{9D8B030D-6E8A-4147-A177-3AD203B41FA5}">
                      <a16:colId xmlns:a16="http://schemas.microsoft.com/office/drawing/2014/main" val="662303034"/>
                    </a:ext>
                  </a:extLst>
                </a:gridCol>
              </a:tblGrid>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accent1"/>
                        </a:solidFill>
                        <a:effectLst/>
                        <a:uLnTx/>
                        <a:uFillTx/>
                        <a:latin typeface="+mn-lt"/>
                        <a:ea typeface="+mn-ea"/>
                        <a:cs typeface="+mn-cs"/>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900" b="0">
                          <a:solidFill>
                            <a:schemeClr val="tx1"/>
                          </a:solidFill>
                          <a:latin typeface="+mj-lt"/>
                        </a:rPr>
                        <a:t>Pre-requisite </a:t>
                      </a:r>
                    </a:p>
                  </a:txBody>
                  <a:tcPr marL="45720" marR="4572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chemeClr val="bg1">
                              <a:lumMod val="65000"/>
                            </a:schemeClr>
                          </a:solidFill>
                          <a:effectLst/>
                          <a:uLnTx/>
                          <a:uFillTx/>
                          <a:latin typeface="+mn-lt"/>
                          <a:ea typeface="+mn-ea"/>
                          <a:cs typeface="+mn-cs"/>
                          <a:sym typeface="Wingdings" panose="05000000000000000000" pitchFamily="2" charset="2"/>
                        </a:rPr>
                        <a:t></a:t>
                      </a:r>
                      <a:endParaRPr lang="en-US" sz="900" b="0">
                        <a:solidFill>
                          <a:schemeClr val="tx1"/>
                        </a:solidFill>
                        <a:latin typeface="+mj-lt"/>
                      </a:endParaRPr>
                    </a:p>
                  </a:txBody>
                  <a:tcPr marL="45720" marR="4572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mn-lt"/>
                          <a:ea typeface="+mn-ea"/>
                          <a:cs typeface="+mn-cs"/>
                        </a:rPr>
                        <a:t>Recommended</a:t>
                      </a:r>
                    </a:p>
                  </a:txBody>
                  <a:tcPr marL="45720" marR="4572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058099593"/>
                  </a:ext>
                </a:extLst>
              </a:tr>
            </a:tbl>
          </a:graphicData>
        </a:graphic>
      </p:graphicFrame>
      <p:sp>
        <p:nvSpPr>
          <p:cNvPr id="6" name="TextBox 5">
            <a:extLst>
              <a:ext uri="{FF2B5EF4-FFF2-40B4-BE49-F238E27FC236}">
                <a16:creationId xmlns:a16="http://schemas.microsoft.com/office/drawing/2014/main" id="{4E04897F-C1D1-490B-8334-AA8EF62E74A5}"/>
              </a:ext>
            </a:extLst>
          </p:cNvPr>
          <p:cNvSpPr txBox="1"/>
          <p:nvPr/>
        </p:nvSpPr>
        <p:spPr>
          <a:xfrm>
            <a:off x="6196613" y="2974019"/>
            <a:ext cx="914400" cy="91440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endParaRPr>
          </a:p>
        </p:txBody>
      </p:sp>
      <p:sp>
        <p:nvSpPr>
          <p:cNvPr id="7" name="TextBox 6">
            <a:extLst>
              <a:ext uri="{FF2B5EF4-FFF2-40B4-BE49-F238E27FC236}">
                <a16:creationId xmlns:a16="http://schemas.microsoft.com/office/drawing/2014/main" id="{15778AA0-447F-47C7-B30F-90E92B88DF6B}"/>
              </a:ext>
            </a:extLst>
          </p:cNvPr>
          <p:cNvSpPr txBox="1"/>
          <p:nvPr/>
        </p:nvSpPr>
        <p:spPr>
          <a:xfrm>
            <a:off x="8922058" y="1704513"/>
            <a:ext cx="6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3010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93020" y="473205"/>
            <a:ext cx="9650770" cy="492443"/>
          </a:xfrm>
        </p:spPr>
        <p:txBody>
          <a:bodyPr/>
          <a:lstStyle/>
          <a:p>
            <a:pPr lvl="0"/>
            <a:r>
              <a:rPr lang="en-US" dirty="0">
                <a:solidFill>
                  <a:srgbClr val="0070C0"/>
                </a:solidFill>
              </a:rPr>
              <a:t>Deploy via Microsoft Cloud Solution Center</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6" name="TextBox 5">
            <a:extLst>
              <a:ext uri="{FF2B5EF4-FFF2-40B4-BE49-F238E27FC236}">
                <a16:creationId xmlns:a16="http://schemas.microsoft.com/office/drawing/2014/main" id="{4E04897F-C1D1-490B-8334-AA8EF62E74A5}"/>
              </a:ext>
            </a:extLst>
          </p:cNvPr>
          <p:cNvSpPr txBox="1"/>
          <p:nvPr/>
        </p:nvSpPr>
        <p:spPr>
          <a:xfrm>
            <a:off x="6196613" y="2974019"/>
            <a:ext cx="914400" cy="91440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endParaRPr>
          </a:p>
        </p:txBody>
      </p:sp>
      <p:sp>
        <p:nvSpPr>
          <p:cNvPr id="7" name="TextBox 6">
            <a:extLst>
              <a:ext uri="{FF2B5EF4-FFF2-40B4-BE49-F238E27FC236}">
                <a16:creationId xmlns:a16="http://schemas.microsoft.com/office/drawing/2014/main" id="{15778AA0-447F-47C7-B30F-90E92B88DF6B}"/>
              </a:ext>
            </a:extLst>
          </p:cNvPr>
          <p:cNvSpPr txBox="1"/>
          <p:nvPr/>
        </p:nvSpPr>
        <p:spPr>
          <a:xfrm>
            <a:off x="8922058" y="1704513"/>
            <a:ext cx="6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55914"/>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graphicFrame>
        <p:nvGraphicFramePr>
          <p:cNvPr id="65" name="TextBox 3" descr="New portal-based experience to simplify industry cloud deployments&#10;In-built licensing and pre-requisite checks to simplify deployment process&#10;Unified deployment and configuration experience across multiple lines of apps">
            <a:extLst>
              <a:ext uri="{FF2B5EF4-FFF2-40B4-BE49-F238E27FC236}">
                <a16:creationId xmlns:a16="http://schemas.microsoft.com/office/drawing/2014/main" id="{DD997DE9-5EC2-4E88-85A4-9266F5D4EB6D}"/>
              </a:ext>
            </a:extLst>
          </p:cNvPr>
          <p:cNvGraphicFramePr/>
          <p:nvPr>
            <p:extLst>
              <p:ext uri="{D42A27DB-BD31-4B8C-83A1-F6EECF244321}">
                <p14:modId xmlns:p14="http://schemas.microsoft.com/office/powerpoint/2010/main" val="384688786"/>
              </p:ext>
            </p:extLst>
          </p:nvPr>
        </p:nvGraphicFramePr>
        <p:xfrm>
          <a:off x="210270" y="1336738"/>
          <a:ext cx="11771460" cy="15658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6" name="TextBox 65">
            <a:extLst>
              <a:ext uri="{FF2B5EF4-FFF2-40B4-BE49-F238E27FC236}">
                <a16:creationId xmlns:a16="http://schemas.microsoft.com/office/drawing/2014/main" id="{384D8425-C63B-448C-89DE-E81768139CA9}"/>
              </a:ext>
            </a:extLst>
          </p:cNvPr>
          <p:cNvSpPr txBox="1"/>
          <p:nvPr/>
        </p:nvSpPr>
        <p:spPr>
          <a:xfrm>
            <a:off x="421957" y="3152352"/>
            <a:ext cx="4059444" cy="3724096"/>
          </a:xfrm>
          <a:prstGeom prst="rect">
            <a:avLst/>
          </a:prstGeom>
          <a:noFill/>
          <a:ln>
            <a:noFill/>
          </a:ln>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dirty="0">
                <a:solidFill>
                  <a:srgbClr val="0078D4"/>
                </a:solidFill>
                <a:latin typeface="Segoe UI Semibold" panose="020B0702040204020203" pitchFamily="34" charset="0"/>
                <a:cs typeface="Segoe UI Semibold" panose="020B0702040204020203" pitchFamily="34" charset="0"/>
              </a:rPr>
              <a:t>Prerequisit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Segoe UI Semibold"/>
              <a:ea typeface="+mj-ea"/>
              <a:cs typeface="+mj-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Segoe UI"/>
                <a:ea typeface="+mj-ea"/>
                <a:cs typeface="+mj-cs"/>
              </a:rPr>
              <a:t>Enterprise has purchased Microsoft Cloud for Financial Servic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j-ea"/>
              <a:cs typeface="+mj-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Segoe UI"/>
                <a:ea typeface="+mj-ea"/>
                <a:cs typeface="+mj-cs"/>
              </a:rPr>
              <a:t>User is a Power Platform Admin or Dynamics 365 A</a:t>
            </a:r>
            <a:r>
              <a:rPr kumimoji="0" lang="en-US" sz="1600" b="0" i="0" u="none" strike="noStrike" kern="0" cap="none" spc="0" normalizeH="0" baseline="0" noProof="0" dirty="0" err="1">
                <a:ln>
                  <a:noFill/>
                </a:ln>
                <a:solidFill>
                  <a:srgbClr val="000000"/>
                </a:solidFill>
                <a:effectLst/>
                <a:uLnTx/>
                <a:uFillTx/>
                <a:latin typeface="Segoe UI"/>
                <a:ea typeface="+mj-ea"/>
                <a:cs typeface="+mj-cs"/>
              </a:rPr>
              <a:t>dmin</a:t>
            </a:r>
            <a:r>
              <a:rPr kumimoji="0" lang="en-US" sz="1600" b="0" i="0" u="none" strike="noStrike" kern="0" cap="none" spc="0" normalizeH="0" baseline="0" noProof="0" dirty="0">
                <a:ln>
                  <a:noFill/>
                </a:ln>
                <a:solidFill>
                  <a:srgbClr val="000000"/>
                </a:solidFill>
                <a:effectLst/>
                <a:uLnTx/>
                <a:uFillTx/>
                <a:latin typeface="Segoe UI"/>
                <a:ea typeface="+mj-ea"/>
                <a:cs typeface="+mj-cs"/>
              </a:rPr>
              <a:t> to deploy the solu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j-ea"/>
              <a:cs typeface="+mj-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Segoe UI"/>
                <a:ea typeface="+mj-ea"/>
                <a:cs typeface="+mj-cs"/>
              </a:rPr>
              <a:t>User has required licenses and dependent Dynamics 365, Power Platform and Microsoft 365</a:t>
            </a:r>
            <a:r>
              <a:rPr lang="en-US" sz="1600" kern="0" dirty="0">
                <a:solidFill>
                  <a:srgbClr val="000000"/>
                </a:solidFill>
                <a:latin typeface="Segoe UI"/>
                <a:ea typeface="+mj-ea"/>
                <a:cs typeface="+mj-cs"/>
              </a:rPr>
              <a:t> applications installed</a:t>
            </a:r>
            <a:endParaRPr kumimoji="0" lang="en-US" sz="1600" b="0" i="0" u="none" strike="noStrike" kern="0" cap="none" spc="0" normalizeH="0" baseline="0" noProof="0" dirty="0">
              <a:ln>
                <a:noFill/>
              </a:ln>
              <a:solidFill>
                <a:srgbClr val="000000"/>
              </a:solidFill>
              <a:effectLst/>
              <a:uLnTx/>
              <a:uFillTx/>
              <a:latin typeface="Segoe UI"/>
              <a:ea typeface="+mj-ea"/>
              <a:cs typeface="+mj-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Segoe UI Semibold"/>
              <a:ea typeface="+mj-ea"/>
              <a:cs typeface="+mj-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bold"/>
              <a:ea typeface="+mj-ea"/>
              <a:cs typeface="+mj-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bold"/>
              <a:ea typeface="+mj-ea"/>
              <a:cs typeface="+mj-cs"/>
            </a:endParaRPr>
          </a:p>
        </p:txBody>
      </p:sp>
      <p:pic>
        <p:nvPicPr>
          <p:cNvPr id="68" name="Picture 67">
            <a:extLst>
              <a:ext uri="{FF2B5EF4-FFF2-40B4-BE49-F238E27FC236}">
                <a16:creationId xmlns:a16="http://schemas.microsoft.com/office/drawing/2014/main" id="{22FBD8CC-8FD7-46C6-925E-A7E3B53E45EA}"/>
              </a:ext>
            </a:extLst>
          </p:cNvPr>
          <p:cNvPicPr>
            <a:picLocks noChangeAspect="1"/>
          </p:cNvPicPr>
          <p:nvPr/>
        </p:nvPicPr>
        <p:blipFill>
          <a:blip r:embed="rId8"/>
          <a:stretch>
            <a:fillRect/>
          </a:stretch>
        </p:blipFill>
        <p:spPr>
          <a:xfrm>
            <a:off x="4637528" y="2974019"/>
            <a:ext cx="7201267" cy="3460387"/>
          </a:xfrm>
          <a:prstGeom prst="rect">
            <a:avLst/>
          </a:prstGeom>
          <a:ln>
            <a:solidFill>
              <a:schemeClr val="tx1"/>
            </a:solidFill>
          </a:ln>
        </p:spPr>
      </p:pic>
    </p:spTree>
    <p:extLst>
      <p:ext uri="{BB962C8B-B14F-4D97-AF65-F5344CB8AC3E}">
        <p14:creationId xmlns:p14="http://schemas.microsoft.com/office/powerpoint/2010/main" val="190602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93020" y="473205"/>
            <a:ext cx="9650770" cy="492443"/>
          </a:xfrm>
        </p:spPr>
        <p:txBody>
          <a:bodyPr/>
          <a:lstStyle/>
          <a:p>
            <a:pPr lvl="0"/>
            <a:r>
              <a:rPr lang="en-US" dirty="0">
                <a:solidFill>
                  <a:srgbClr val="0070C0"/>
                </a:solidFill>
              </a:rPr>
              <a:t>Deploy via Microsoft Cloud Solution Center</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6" name="TextBox 5">
            <a:extLst>
              <a:ext uri="{FF2B5EF4-FFF2-40B4-BE49-F238E27FC236}">
                <a16:creationId xmlns:a16="http://schemas.microsoft.com/office/drawing/2014/main" id="{4E04897F-C1D1-490B-8334-AA8EF62E74A5}"/>
              </a:ext>
            </a:extLst>
          </p:cNvPr>
          <p:cNvSpPr txBox="1"/>
          <p:nvPr/>
        </p:nvSpPr>
        <p:spPr>
          <a:xfrm>
            <a:off x="6196613" y="2974019"/>
            <a:ext cx="914400" cy="91440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endParaRPr>
          </a:p>
        </p:txBody>
      </p:sp>
      <p:sp>
        <p:nvSpPr>
          <p:cNvPr id="7" name="TextBox 6">
            <a:extLst>
              <a:ext uri="{FF2B5EF4-FFF2-40B4-BE49-F238E27FC236}">
                <a16:creationId xmlns:a16="http://schemas.microsoft.com/office/drawing/2014/main" id="{15778AA0-447F-47C7-B30F-90E92B88DF6B}"/>
              </a:ext>
            </a:extLst>
          </p:cNvPr>
          <p:cNvSpPr txBox="1"/>
          <p:nvPr/>
        </p:nvSpPr>
        <p:spPr>
          <a:xfrm>
            <a:off x="8922058" y="1704513"/>
            <a:ext cx="6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55914"/>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pic>
        <p:nvPicPr>
          <p:cNvPr id="16" name="Picture 15" descr="Screenshot of MCH post-purchase email">
            <a:extLst>
              <a:ext uri="{FF2B5EF4-FFF2-40B4-BE49-F238E27FC236}">
                <a16:creationId xmlns:a16="http://schemas.microsoft.com/office/drawing/2014/main" id="{9AA420EE-5858-4AAF-976A-6A951A3F648D}"/>
              </a:ext>
            </a:extLst>
          </p:cNvPr>
          <p:cNvPicPr>
            <a:picLocks noChangeAspect="1"/>
          </p:cNvPicPr>
          <p:nvPr/>
        </p:nvPicPr>
        <p:blipFill>
          <a:blip r:embed="rId3"/>
          <a:stretch>
            <a:fillRect/>
          </a:stretch>
        </p:blipFill>
        <p:spPr>
          <a:xfrm>
            <a:off x="520820" y="2490759"/>
            <a:ext cx="2042656" cy="1972786"/>
          </a:xfrm>
          <a:prstGeom prst="rect">
            <a:avLst/>
          </a:prstGeom>
          <a:ln>
            <a:solidFill>
              <a:schemeClr val="tx1"/>
            </a:solidFill>
          </a:ln>
          <a:scene3d>
            <a:camera prst="orthographicFront"/>
            <a:lightRig rig="threePt" dir="t"/>
          </a:scene3d>
          <a:sp3d>
            <a:bevelT prst="angle"/>
          </a:sp3d>
        </p:spPr>
      </p:pic>
      <p:grpSp>
        <p:nvGrpSpPr>
          <p:cNvPr id="17" name="Group 16" descr="Screenshots of solution center">
            <a:extLst>
              <a:ext uri="{FF2B5EF4-FFF2-40B4-BE49-F238E27FC236}">
                <a16:creationId xmlns:a16="http://schemas.microsoft.com/office/drawing/2014/main" id="{F9450AFA-6EC5-4715-88E2-CC2AFE941678}"/>
              </a:ext>
            </a:extLst>
          </p:cNvPr>
          <p:cNvGrpSpPr/>
          <p:nvPr/>
        </p:nvGrpSpPr>
        <p:grpSpPr>
          <a:xfrm>
            <a:off x="3865163" y="2490759"/>
            <a:ext cx="4899925" cy="4254039"/>
            <a:chOff x="2746046" y="1279353"/>
            <a:chExt cx="5683486" cy="4685516"/>
          </a:xfrm>
        </p:grpSpPr>
        <p:pic>
          <p:nvPicPr>
            <p:cNvPr id="18" name="Picture 17">
              <a:extLst>
                <a:ext uri="{FF2B5EF4-FFF2-40B4-BE49-F238E27FC236}">
                  <a16:creationId xmlns:a16="http://schemas.microsoft.com/office/drawing/2014/main" id="{411037EE-1D3F-4C36-8B7C-ED070EEB8EAB}"/>
                </a:ext>
              </a:extLst>
            </p:cNvPr>
            <p:cNvPicPr>
              <a:picLocks noChangeAspect="1"/>
            </p:cNvPicPr>
            <p:nvPr/>
          </p:nvPicPr>
          <p:blipFill>
            <a:blip r:embed="rId4"/>
            <a:stretch>
              <a:fillRect/>
            </a:stretch>
          </p:blipFill>
          <p:spPr>
            <a:xfrm>
              <a:off x="2746046" y="1279353"/>
              <a:ext cx="2659872" cy="1391294"/>
            </a:xfrm>
            <a:prstGeom prst="rect">
              <a:avLst/>
            </a:prstGeom>
            <a:ln>
              <a:solidFill>
                <a:schemeClr val="tx1"/>
              </a:solidFill>
            </a:ln>
            <a:scene3d>
              <a:camera prst="orthographicFront"/>
              <a:lightRig rig="threePt" dir="t"/>
            </a:scene3d>
            <a:sp3d>
              <a:bevelT prst="angle"/>
            </a:sp3d>
          </p:spPr>
        </p:pic>
        <p:pic>
          <p:nvPicPr>
            <p:cNvPr id="19" name="Picture 18">
              <a:extLst>
                <a:ext uri="{FF2B5EF4-FFF2-40B4-BE49-F238E27FC236}">
                  <a16:creationId xmlns:a16="http://schemas.microsoft.com/office/drawing/2014/main" id="{8385EFE4-3755-4453-9019-37B5FC2D190B}"/>
                </a:ext>
              </a:extLst>
            </p:cNvPr>
            <p:cNvPicPr>
              <a:picLocks noChangeAspect="1"/>
            </p:cNvPicPr>
            <p:nvPr/>
          </p:nvPicPr>
          <p:blipFill>
            <a:blip r:embed="rId5"/>
            <a:stretch>
              <a:fillRect/>
            </a:stretch>
          </p:blipFill>
          <p:spPr>
            <a:xfrm>
              <a:off x="3594625" y="2214565"/>
              <a:ext cx="2659871" cy="1390145"/>
            </a:xfrm>
            <a:prstGeom prst="rect">
              <a:avLst/>
            </a:prstGeom>
            <a:ln>
              <a:solidFill>
                <a:schemeClr val="tx1"/>
              </a:solidFill>
            </a:ln>
            <a:scene3d>
              <a:camera prst="orthographicFront"/>
              <a:lightRig rig="threePt" dir="t"/>
            </a:scene3d>
            <a:sp3d>
              <a:bevelT prst="angle"/>
            </a:sp3d>
          </p:spPr>
        </p:pic>
        <p:pic>
          <p:nvPicPr>
            <p:cNvPr id="20" name="Picture 19">
              <a:extLst>
                <a:ext uri="{FF2B5EF4-FFF2-40B4-BE49-F238E27FC236}">
                  <a16:creationId xmlns:a16="http://schemas.microsoft.com/office/drawing/2014/main" id="{24C7FBB9-2A5F-468C-8631-E119BDDA9BEE}"/>
                </a:ext>
              </a:extLst>
            </p:cNvPr>
            <p:cNvPicPr>
              <a:picLocks noChangeAspect="1"/>
            </p:cNvPicPr>
            <p:nvPr/>
          </p:nvPicPr>
          <p:blipFill>
            <a:blip r:embed="rId6"/>
            <a:stretch>
              <a:fillRect/>
            </a:stretch>
          </p:blipFill>
          <p:spPr>
            <a:xfrm>
              <a:off x="4385872" y="2733059"/>
              <a:ext cx="2659871" cy="1391882"/>
            </a:xfrm>
            <a:prstGeom prst="rect">
              <a:avLst/>
            </a:prstGeom>
            <a:ln>
              <a:solidFill>
                <a:schemeClr val="tx1"/>
              </a:solidFill>
            </a:ln>
            <a:scene3d>
              <a:camera prst="orthographicFront"/>
              <a:lightRig rig="threePt" dir="t"/>
            </a:scene3d>
            <a:sp3d>
              <a:bevelT prst="angle"/>
            </a:sp3d>
          </p:spPr>
        </p:pic>
        <p:pic>
          <p:nvPicPr>
            <p:cNvPr id="21" name="Picture 20">
              <a:extLst>
                <a:ext uri="{FF2B5EF4-FFF2-40B4-BE49-F238E27FC236}">
                  <a16:creationId xmlns:a16="http://schemas.microsoft.com/office/drawing/2014/main" id="{6CA290B5-7690-41A7-A8BC-6FEF3DE1ADB9}"/>
                </a:ext>
              </a:extLst>
            </p:cNvPr>
            <p:cNvPicPr>
              <a:picLocks noChangeAspect="1"/>
            </p:cNvPicPr>
            <p:nvPr/>
          </p:nvPicPr>
          <p:blipFill>
            <a:blip r:embed="rId7"/>
            <a:stretch>
              <a:fillRect/>
            </a:stretch>
          </p:blipFill>
          <p:spPr>
            <a:xfrm>
              <a:off x="4989375" y="3593263"/>
              <a:ext cx="2659871" cy="1387161"/>
            </a:xfrm>
            <a:prstGeom prst="rect">
              <a:avLst/>
            </a:prstGeom>
            <a:ln>
              <a:solidFill>
                <a:schemeClr val="tx1"/>
              </a:solidFill>
            </a:ln>
            <a:scene3d>
              <a:camera prst="orthographicFront"/>
              <a:lightRig rig="threePt" dir="t"/>
            </a:scene3d>
            <a:sp3d>
              <a:bevelT prst="angle"/>
            </a:sp3d>
          </p:spPr>
        </p:pic>
        <p:grpSp>
          <p:nvGrpSpPr>
            <p:cNvPr id="22" name="Group 21">
              <a:extLst>
                <a:ext uri="{FF2B5EF4-FFF2-40B4-BE49-F238E27FC236}">
                  <a16:creationId xmlns:a16="http://schemas.microsoft.com/office/drawing/2014/main" id="{FCFEB9A9-1EE0-44C9-BB52-ABD1BAE2FB44}"/>
                </a:ext>
              </a:extLst>
            </p:cNvPr>
            <p:cNvGrpSpPr/>
            <p:nvPr/>
          </p:nvGrpSpPr>
          <p:grpSpPr>
            <a:xfrm>
              <a:off x="5769662" y="4449326"/>
              <a:ext cx="2659870" cy="1515543"/>
              <a:chOff x="114299" y="20742"/>
              <a:chExt cx="11999803" cy="6837258"/>
            </a:xfrm>
          </p:grpSpPr>
          <p:pic>
            <p:nvPicPr>
              <p:cNvPr id="23" name="Picture 22">
                <a:extLst>
                  <a:ext uri="{FF2B5EF4-FFF2-40B4-BE49-F238E27FC236}">
                    <a16:creationId xmlns:a16="http://schemas.microsoft.com/office/drawing/2014/main" id="{BB063B57-3C98-4F04-878F-E0A6EFAEB78B}"/>
                  </a:ext>
                </a:extLst>
              </p:cNvPr>
              <p:cNvPicPr>
                <a:picLocks noChangeAspect="1"/>
              </p:cNvPicPr>
              <p:nvPr/>
            </p:nvPicPr>
            <p:blipFill>
              <a:blip r:embed="rId8"/>
              <a:stretch>
                <a:fillRect/>
              </a:stretch>
            </p:blipFill>
            <p:spPr>
              <a:xfrm>
                <a:off x="114299" y="20742"/>
                <a:ext cx="11999803" cy="6837258"/>
              </a:xfrm>
              <a:prstGeom prst="rect">
                <a:avLst/>
              </a:prstGeom>
              <a:ln>
                <a:solidFill>
                  <a:schemeClr val="tx1"/>
                </a:solidFill>
              </a:ln>
              <a:scene3d>
                <a:camera prst="orthographicFront"/>
                <a:lightRig rig="threePt" dir="t"/>
              </a:scene3d>
              <a:sp3d>
                <a:bevelT prst="angle"/>
              </a:sp3d>
            </p:spPr>
          </p:pic>
          <p:pic>
            <p:nvPicPr>
              <p:cNvPr id="24" name="Picture 23">
                <a:extLst>
                  <a:ext uri="{FF2B5EF4-FFF2-40B4-BE49-F238E27FC236}">
                    <a16:creationId xmlns:a16="http://schemas.microsoft.com/office/drawing/2014/main" id="{5615B390-8541-4F07-8C61-61620380889A}"/>
                  </a:ext>
                </a:extLst>
              </p:cNvPr>
              <p:cNvPicPr>
                <a:picLocks noChangeAspect="1"/>
              </p:cNvPicPr>
              <p:nvPr/>
            </p:nvPicPr>
            <p:blipFill>
              <a:blip r:embed="rId9"/>
              <a:stretch>
                <a:fillRect/>
              </a:stretch>
            </p:blipFill>
            <p:spPr>
              <a:xfrm>
                <a:off x="1590310" y="865677"/>
                <a:ext cx="1525938" cy="1710470"/>
              </a:xfrm>
              <a:prstGeom prst="rect">
                <a:avLst/>
              </a:prstGeom>
              <a:ln>
                <a:solidFill>
                  <a:schemeClr val="tx1"/>
                </a:solidFill>
              </a:ln>
              <a:scene3d>
                <a:camera prst="orthographicFront"/>
                <a:lightRig rig="threePt" dir="t"/>
              </a:scene3d>
              <a:sp3d>
                <a:bevelT prst="angle"/>
              </a:sp3d>
            </p:spPr>
          </p:pic>
        </p:grpSp>
      </p:grpSp>
      <p:grpSp>
        <p:nvGrpSpPr>
          <p:cNvPr id="25" name="Group 24" descr="Screenshot of MCH">
            <a:extLst>
              <a:ext uri="{FF2B5EF4-FFF2-40B4-BE49-F238E27FC236}">
                <a16:creationId xmlns:a16="http://schemas.microsoft.com/office/drawing/2014/main" id="{3990230D-4F6B-41A2-B427-5428EB55769B}"/>
              </a:ext>
            </a:extLst>
          </p:cNvPr>
          <p:cNvGrpSpPr/>
          <p:nvPr/>
        </p:nvGrpSpPr>
        <p:grpSpPr>
          <a:xfrm>
            <a:off x="9352972" y="2490759"/>
            <a:ext cx="2432233" cy="1396290"/>
            <a:chOff x="194691" y="0"/>
            <a:chExt cx="11802618" cy="6858000"/>
          </a:xfrm>
        </p:grpSpPr>
        <p:pic>
          <p:nvPicPr>
            <p:cNvPr id="26" name="Picture 25">
              <a:extLst>
                <a:ext uri="{FF2B5EF4-FFF2-40B4-BE49-F238E27FC236}">
                  <a16:creationId xmlns:a16="http://schemas.microsoft.com/office/drawing/2014/main" id="{85726D2F-6CDA-4F89-BE13-212D727654C4}"/>
                </a:ext>
              </a:extLst>
            </p:cNvPr>
            <p:cNvPicPr>
              <a:picLocks noChangeAspect="1"/>
            </p:cNvPicPr>
            <p:nvPr/>
          </p:nvPicPr>
          <p:blipFill>
            <a:blip r:embed="rId10"/>
            <a:stretch>
              <a:fillRect/>
            </a:stretch>
          </p:blipFill>
          <p:spPr>
            <a:xfrm>
              <a:off x="194691" y="0"/>
              <a:ext cx="11802618" cy="6858000"/>
            </a:xfrm>
            <a:prstGeom prst="rect">
              <a:avLst/>
            </a:prstGeom>
            <a:ln>
              <a:solidFill>
                <a:schemeClr val="tx1"/>
              </a:solidFill>
            </a:ln>
            <a:scene3d>
              <a:camera prst="orthographicFront"/>
              <a:lightRig rig="threePt" dir="t"/>
            </a:scene3d>
            <a:sp3d>
              <a:bevelT prst="angle"/>
            </a:sp3d>
          </p:spPr>
        </p:pic>
        <p:sp>
          <p:nvSpPr>
            <p:cNvPr id="27" name="Rectangle 26">
              <a:extLst>
                <a:ext uri="{FF2B5EF4-FFF2-40B4-BE49-F238E27FC236}">
                  <a16:creationId xmlns:a16="http://schemas.microsoft.com/office/drawing/2014/main" id="{269697BD-0B3E-424C-B3AA-84A196391750}"/>
                </a:ext>
              </a:extLst>
            </p:cNvPr>
            <p:cNvSpPr/>
            <p:nvPr/>
          </p:nvSpPr>
          <p:spPr>
            <a:xfrm>
              <a:off x="400095" y="66876"/>
              <a:ext cx="1191491" cy="179310"/>
            </a:xfrm>
            <a:prstGeom prst="rect">
              <a:avLst/>
            </a:prstGeom>
            <a:solidFill>
              <a:srgbClr val="1B1B1B"/>
            </a:solidFill>
            <a:ln>
              <a:solidFill>
                <a:schemeClr val="tx1"/>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00"/>
            </a:p>
          </p:txBody>
        </p:sp>
      </p:grpSp>
      <p:sp>
        <p:nvSpPr>
          <p:cNvPr id="28" name="Arrow: Right 27">
            <a:extLst>
              <a:ext uri="{FF2B5EF4-FFF2-40B4-BE49-F238E27FC236}">
                <a16:creationId xmlns:a16="http://schemas.microsoft.com/office/drawing/2014/main" id="{C3171695-1C6E-4048-B27E-9C742ACB09B2}"/>
              </a:ext>
              <a:ext uri="{C183D7F6-B498-43B3-948B-1728B52AA6E4}">
                <adec:decorative xmlns:adec="http://schemas.microsoft.com/office/drawing/2017/decorative" val="1"/>
              </a:ext>
            </a:extLst>
          </p:cNvPr>
          <p:cNvSpPr/>
          <p:nvPr/>
        </p:nvSpPr>
        <p:spPr>
          <a:xfrm>
            <a:off x="2800885" y="3785803"/>
            <a:ext cx="639455" cy="363866"/>
          </a:xfrm>
          <a:prstGeom prst="rightArrow">
            <a:avLst/>
          </a:prstGeom>
          <a:solidFill>
            <a:schemeClr val="tx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Arrow: Right 28">
            <a:extLst>
              <a:ext uri="{FF2B5EF4-FFF2-40B4-BE49-F238E27FC236}">
                <a16:creationId xmlns:a16="http://schemas.microsoft.com/office/drawing/2014/main" id="{ABD28DBF-7D3D-4356-B099-DF4D70E59342}"/>
              </a:ext>
              <a:ext uri="{C183D7F6-B498-43B3-948B-1728B52AA6E4}">
                <adec:decorative xmlns:adec="http://schemas.microsoft.com/office/drawing/2017/decorative" val="1"/>
              </a:ext>
            </a:extLst>
          </p:cNvPr>
          <p:cNvSpPr/>
          <p:nvPr/>
        </p:nvSpPr>
        <p:spPr>
          <a:xfrm>
            <a:off x="8030104" y="3785803"/>
            <a:ext cx="639455" cy="363866"/>
          </a:xfrm>
          <a:prstGeom prst="rightArrow">
            <a:avLst/>
          </a:prstGeom>
          <a:solidFill>
            <a:schemeClr val="tx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Screenshot of MCH">
            <a:extLst>
              <a:ext uri="{FF2B5EF4-FFF2-40B4-BE49-F238E27FC236}">
                <a16:creationId xmlns:a16="http://schemas.microsoft.com/office/drawing/2014/main" id="{6C125D8D-A059-4DEB-BBD6-1C2B18BD97AA}"/>
              </a:ext>
            </a:extLst>
          </p:cNvPr>
          <p:cNvPicPr>
            <a:picLocks noChangeAspect="1"/>
          </p:cNvPicPr>
          <p:nvPr/>
        </p:nvPicPr>
        <p:blipFill>
          <a:blip r:embed="rId11"/>
          <a:stretch>
            <a:fillRect/>
          </a:stretch>
        </p:blipFill>
        <p:spPr>
          <a:xfrm>
            <a:off x="9325806" y="4257704"/>
            <a:ext cx="2459399" cy="1280759"/>
          </a:xfrm>
          <a:prstGeom prst="rect">
            <a:avLst/>
          </a:prstGeom>
          <a:ln>
            <a:solidFill>
              <a:schemeClr val="tx1"/>
            </a:solidFill>
          </a:ln>
          <a:scene3d>
            <a:camera prst="orthographicFront"/>
            <a:lightRig rig="threePt" dir="t"/>
          </a:scene3d>
          <a:sp3d>
            <a:bevelT prst="angle"/>
          </a:sp3d>
        </p:spPr>
      </p:pic>
      <p:sp>
        <p:nvSpPr>
          <p:cNvPr id="31" name="TextBox 30">
            <a:extLst>
              <a:ext uri="{FF2B5EF4-FFF2-40B4-BE49-F238E27FC236}">
                <a16:creationId xmlns:a16="http://schemas.microsoft.com/office/drawing/2014/main" id="{064F4702-32E6-4262-B5A0-C0069A00D9B3}"/>
              </a:ext>
            </a:extLst>
          </p:cNvPr>
          <p:cNvSpPr txBox="1"/>
          <p:nvPr/>
        </p:nvSpPr>
        <p:spPr>
          <a:xfrm>
            <a:off x="229626" y="1766898"/>
            <a:ext cx="3130656" cy="369332"/>
          </a:xfrm>
          <a:prstGeom prst="rect">
            <a:avLst/>
          </a:prstGeom>
          <a:solidFill>
            <a:srgbClr val="0070C0"/>
          </a:solidFill>
          <a:ln>
            <a:solidFill>
              <a:schemeClr val="accent6">
                <a:lumMod val="40000"/>
                <a:lumOff val="60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a:ea typeface="+mn-ea"/>
                <a:cs typeface="Segoe UI"/>
              </a:rPr>
              <a:t>Post purchase mail</a:t>
            </a:r>
            <a:endParaRPr kumimoji="0" lang="en-US" sz="1800" b="0" i="0" strike="noStrike" kern="1200" cap="none" spc="0" normalizeH="0" baseline="0" noProof="0" dirty="0">
              <a:ln>
                <a:noFill/>
              </a:ln>
              <a:solidFill>
                <a:schemeClr val="tx1"/>
              </a:solidFill>
              <a:effectLst/>
              <a:uLnTx/>
              <a:uFillTx/>
              <a:latin typeface="Segoe UI Semibold"/>
              <a:ea typeface="+mn-ea"/>
              <a:cs typeface="Segoe UI"/>
            </a:endParaRPr>
          </a:p>
        </p:txBody>
      </p:sp>
      <p:sp>
        <p:nvSpPr>
          <p:cNvPr id="32" name="TextBox 31">
            <a:extLst>
              <a:ext uri="{FF2B5EF4-FFF2-40B4-BE49-F238E27FC236}">
                <a16:creationId xmlns:a16="http://schemas.microsoft.com/office/drawing/2014/main" id="{CC20B7FC-8E77-47AF-94EC-DCEC9DEBD871}"/>
              </a:ext>
            </a:extLst>
          </p:cNvPr>
          <p:cNvSpPr txBox="1"/>
          <p:nvPr/>
        </p:nvSpPr>
        <p:spPr>
          <a:xfrm>
            <a:off x="3360282" y="1766898"/>
            <a:ext cx="4846880" cy="369332"/>
          </a:xfrm>
          <a:prstGeom prst="rect">
            <a:avLst/>
          </a:prstGeom>
          <a:solidFill>
            <a:srgbClr val="0070C0"/>
          </a:solidFill>
          <a:ln>
            <a:solidFill>
              <a:schemeClr val="accent6">
                <a:lumMod val="40000"/>
                <a:lumOff val="60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dirty="0">
                <a:solidFill>
                  <a:schemeClr val="tx1"/>
                </a:solidFill>
                <a:latin typeface="Segoe UI Semibold"/>
                <a:cs typeface="Segoe UI"/>
              </a:rPr>
              <a:t>Microsoft Cloud </a:t>
            </a:r>
            <a:r>
              <a:rPr kumimoji="0" lang="en-US" sz="1800" b="0" i="0" u="none" strike="noStrike" kern="1200" cap="none" spc="0" normalizeH="0" baseline="0" noProof="0" dirty="0">
                <a:ln>
                  <a:noFill/>
                </a:ln>
                <a:solidFill>
                  <a:schemeClr val="tx1"/>
                </a:solidFill>
                <a:effectLst/>
                <a:uLnTx/>
                <a:uFillTx/>
                <a:latin typeface="Segoe UI Semibold"/>
                <a:ea typeface="+mn-ea"/>
                <a:cs typeface="Segoe UI"/>
              </a:rPr>
              <a:t>Solution Center</a:t>
            </a:r>
          </a:p>
        </p:txBody>
      </p:sp>
      <p:sp>
        <p:nvSpPr>
          <p:cNvPr id="33" name="TextBox 32">
            <a:extLst>
              <a:ext uri="{FF2B5EF4-FFF2-40B4-BE49-F238E27FC236}">
                <a16:creationId xmlns:a16="http://schemas.microsoft.com/office/drawing/2014/main" id="{60378B6D-D2B4-4C9A-866F-9114B612F771}"/>
              </a:ext>
            </a:extLst>
          </p:cNvPr>
          <p:cNvSpPr txBox="1"/>
          <p:nvPr/>
        </p:nvSpPr>
        <p:spPr>
          <a:xfrm>
            <a:off x="8207162" y="1766898"/>
            <a:ext cx="3689646" cy="369332"/>
          </a:xfrm>
          <a:prstGeom prst="rect">
            <a:avLst/>
          </a:prstGeom>
          <a:solidFill>
            <a:srgbClr val="0070C0"/>
          </a:solidFill>
          <a:ln>
            <a:solidFill>
              <a:schemeClr val="accent6">
                <a:lumMod val="40000"/>
                <a:lumOff val="60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a:ea typeface="+mn-ea"/>
                <a:cs typeface="Segoe UI"/>
              </a:rPr>
              <a:t>Launch/Manage solution</a:t>
            </a:r>
          </a:p>
        </p:txBody>
      </p:sp>
      <p:sp>
        <p:nvSpPr>
          <p:cNvPr id="3" name="Rectangle 2">
            <a:extLst>
              <a:ext uri="{FF2B5EF4-FFF2-40B4-BE49-F238E27FC236}">
                <a16:creationId xmlns:a16="http://schemas.microsoft.com/office/drawing/2014/main" id="{01EB1414-7607-4921-B942-F2ED482002B9}"/>
              </a:ext>
            </a:extLst>
          </p:cNvPr>
          <p:cNvSpPr/>
          <p:nvPr/>
        </p:nvSpPr>
        <p:spPr bwMode="auto">
          <a:xfrm>
            <a:off x="775606" y="2974019"/>
            <a:ext cx="522515" cy="7942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039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8" y="504122"/>
            <a:ext cx="7328950" cy="492443"/>
          </a:xfrm>
        </p:spPr>
        <p:txBody>
          <a:bodyPr/>
          <a:lstStyle/>
          <a:p>
            <a:pPr lvl="0"/>
            <a:r>
              <a:rPr lang="en-US" dirty="0">
                <a:solidFill>
                  <a:srgbClr val="0070C0"/>
                </a:solidFill>
              </a:rPr>
              <a:t>Deploy | Step 1 : Prepare Environment</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4D450BCA-622F-473F-ADBE-B218E485ABBE}"/>
              </a:ext>
            </a:extLst>
          </p:cNvPr>
          <p:cNvSpPr txBox="1"/>
          <p:nvPr/>
        </p:nvSpPr>
        <p:spPr>
          <a:xfrm>
            <a:off x="3791923" y="1685612"/>
            <a:ext cx="8147448" cy="369332"/>
          </a:xfrm>
          <a:prstGeom prst="rect">
            <a:avLst/>
          </a:prstGeom>
          <a:solidFill>
            <a:sysClr val="window" lastClr="FFFFFF"/>
          </a:solidFill>
          <a:ln w="12700" cap="flat" cmpd="sng" algn="ctr">
            <a:solidFill>
              <a:schemeClr val="bg1"/>
            </a:solidFill>
            <a:prstDash val="solid"/>
            <a:miter lim="800000"/>
          </a:ln>
          <a:effectLst/>
        </p:spPr>
        <p:txBody>
          <a:bodyPr wrap="square">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Segoe UI"/>
              </a:rPr>
              <a:t>Pre-install dependencies</a:t>
            </a:r>
          </a:p>
        </p:txBody>
      </p:sp>
      <p:graphicFrame>
        <p:nvGraphicFramePr>
          <p:cNvPr id="36" name="Diagram 35" descr="Listing of MCH area dependencies. Care Management has no additional dependencies.  Home Health is dependent on Dynamics Field Service.  Patient Access has dependencies on Power Apps Portals.  Patient Outreach is dependent on Dynamics 365 Marketing.  Patient Service Center is dependent on Dynamics 365 Customer Service and Digital Messaging.  ">
            <a:extLst>
              <a:ext uri="{FF2B5EF4-FFF2-40B4-BE49-F238E27FC236}">
                <a16:creationId xmlns:a16="http://schemas.microsoft.com/office/drawing/2014/main" id="{12053DCF-4AB0-443C-85A3-E7DF914106EF}"/>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799631618"/>
              </p:ext>
            </p:extLst>
          </p:nvPr>
        </p:nvGraphicFramePr>
        <p:xfrm>
          <a:off x="3791922" y="2237230"/>
          <a:ext cx="8147448" cy="18522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7" name="Picture 36" descr="Screenshot of creating a new environment in the Power Platform Admin Center.">
            <a:extLst>
              <a:ext uri="{FF2B5EF4-FFF2-40B4-BE49-F238E27FC236}">
                <a16:creationId xmlns:a16="http://schemas.microsoft.com/office/drawing/2014/main" id="{262FE1E1-9ED6-4E5A-8169-C1C402FE3EE8}"/>
              </a:ext>
            </a:extLst>
          </p:cNvPr>
          <p:cNvPicPr>
            <a:picLocks noChangeAspect="1"/>
          </p:cNvPicPr>
          <p:nvPr/>
        </p:nvPicPr>
        <p:blipFill>
          <a:blip r:embed="rId8"/>
          <a:stretch>
            <a:fillRect/>
          </a:stretch>
        </p:blipFill>
        <p:spPr>
          <a:xfrm>
            <a:off x="368828" y="2237230"/>
            <a:ext cx="2641750" cy="4410150"/>
          </a:xfrm>
          <a:prstGeom prst="rect">
            <a:avLst/>
          </a:prstGeom>
          <a:ln>
            <a:solidFill>
              <a:schemeClr val="tx1"/>
            </a:solidFill>
          </a:ln>
        </p:spPr>
      </p:pic>
      <p:sp>
        <p:nvSpPr>
          <p:cNvPr id="38" name="TextBox 37">
            <a:extLst>
              <a:ext uri="{FF2B5EF4-FFF2-40B4-BE49-F238E27FC236}">
                <a16:creationId xmlns:a16="http://schemas.microsoft.com/office/drawing/2014/main" id="{7A99DC5E-684B-4033-A126-46A1EB2750DE}"/>
              </a:ext>
            </a:extLst>
          </p:cNvPr>
          <p:cNvSpPr txBox="1"/>
          <p:nvPr/>
        </p:nvSpPr>
        <p:spPr>
          <a:xfrm>
            <a:off x="296909" y="1685612"/>
            <a:ext cx="2817029" cy="369332"/>
          </a:xfrm>
          <a:prstGeom prst="rect">
            <a:avLst/>
          </a:prstGeom>
          <a:solidFill>
            <a:sysClr val="window" lastClr="FFFFFF"/>
          </a:solidFill>
          <a:ln w="12700" cap="flat" cmpd="sng" algn="ctr">
            <a:solidFill>
              <a:schemeClr val="bg1"/>
            </a:solidFill>
            <a:prstDash val="solid"/>
            <a:miter lim="800000"/>
          </a:ln>
          <a:effectLst/>
        </p:spPr>
        <p:txBody>
          <a:bodyPr wrap="square">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8D4"/>
                </a:solidFill>
                <a:effectLst/>
                <a:uLnTx/>
                <a:uFillTx/>
                <a:latin typeface="Segoe UI Semibold"/>
                <a:ea typeface="+mn-ea"/>
                <a:cs typeface="Segoe UI"/>
              </a:rPr>
              <a:t>Create new environment</a:t>
            </a:r>
          </a:p>
        </p:txBody>
      </p:sp>
      <p:pic>
        <p:nvPicPr>
          <p:cNvPr id="5" name="Picture 4">
            <a:extLst>
              <a:ext uri="{FF2B5EF4-FFF2-40B4-BE49-F238E27FC236}">
                <a16:creationId xmlns:a16="http://schemas.microsoft.com/office/drawing/2014/main" id="{C746B9DD-B511-47BD-A102-047D893809A4}"/>
              </a:ext>
            </a:extLst>
          </p:cNvPr>
          <p:cNvPicPr>
            <a:picLocks noChangeAspect="1"/>
          </p:cNvPicPr>
          <p:nvPr/>
        </p:nvPicPr>
        <p:blipFill>
          <a:blip r:embed="rId9"/>
          <a:stretch>
            <a:fillRect/>
          </a:stretch>
        </p:blipFill>
        <p:spPr>
          <a:xfrm>
            <a:off x="8116315" y="4173563"/>
            <a:ext cx="3554371" cy="2481142"/>
          </a:xfrm>
          <a:prstGeom prst="rect">
            <a:avLst/>
          </a:prstGeom>
        </p:spPr>
      </p:pic>
      <p:grpSp>
        <p:nvGrpSpPr>
          <p:cNvPr id="15" name="Group 14">
            <a:extLst>
              <a:ext uri="{FF2B5EF4-FFF2-40B4-BE49-F238E27FC236}">
                <a16:creationId xmlns:a16="http://schemas.microsoft.com/office/drawing/2014/main" id="{B10C31C1-59B2-46CB-B2EA-8BE959A794E6}"/>
              </a:ext>
            </a:extLst>
          </p:cNvPr>
          <p:cNvGrpSpPr/>
          <p:nvPr/>
        </p:nvGrpSpPr>
        <p:grpSpPr>
          <a:xfrm>
            <a:off x="3336957" y="4682183"/>
            <a:ext cx="4869734" cy="1290997"/>
            <a:chOff x="3423096" y="4390649"/>
            <a:chExt cx="4869734" cy="1290997"/>
          </a:xfrm>
        </p:grpSpPr>
        <p:sp>
          <p:nvSpPr>
            <p:cNvPr id="8" name="Rectangle 7">
              <a:extLst>
                <a:ext uri="{FF2B5EF4-FFF2-40B4-BE49-F238E27FC236}">
                  <a16:creationId xmlns:a16="http://schemas.microsoft.com/office/drawing/2014/main" id="{F7587B7B-5C6D-4991-9AFA-5B28B1C14023}"/>
                </a:ext>
              </a:extLst>
            </p:cNvPr>
            <p:cNvSpPr/>
            <p:nvPr/>
          </p:nvSpPr>
          <p:spPr bwMode="auto">
            <a:xfrm>
              <a:off x="3423096" y="4390649"/>
              <a:ext cx="3554370" cy="10374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Isosceles Triangle 8">
              <a:extLst>
                <a:ext uri="{FF2B5EF4-FFF2-40B4-BE49-F238E27FC236}">
                  <a16:creationId xmlns:a16="http://schemas.microsoft.com/office/drawing/2014/main" id="{709A34AD-1321-4D2A-8FF5-4476C1CF6A63}"/>
                </a:ext>
              </a:extLst>
            </p:cNvPr>
            <p:cNvSpPr/>
            <p:nvPr/>
          </p:nvSpPr>
          <p:spPr bwMode="auto">
            <a:xfrm rot="974206">
              <a:off x="6411711" y="5050887"/>
              <a:ext cx="1881119" cy="630759"/>
            </a:xfrm>
            <a:prstGeom prst="triangle">
              <a:avLst>
                <a:gd name="adj" fmla="val 17416"/>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D29653D5-F41D-43D6-AC01-788A66EC472A}"/>
                </a:ext>
              </a:extLst>
            </p:cNvPr>
            <p:cNvPicPr>
              <a:picLocks noChangeAspect="1"/>
            </p:cNvPicPr>
            <p:nvPr/>
          </p:nvPicPr>
          <p:blipFill>
            <a:blip r:embed="rId10"/>
            <a:stretch>
              <a:fillRect/>
            </a:stretch>
          </p:blipFill>
          <p:spPr>
            <a:xfrm>
              <a:off x="3489803" y="4444579"/>
              <a:ext cx="3370321" cy="907570"/>
            </a:xfrm>
            <a:prstGeom prst="rect">
              <a:avLst/>
            </a:prstGeom>
          </p:spPr>
        </p:pic>
      </p:grpSp>
    </p:spTree>
    <p:extLst>
      <p:ext uri="{BB962C8B-B14F-4D97-AF65-F5344CB8AC3E}">
        <p14:creationId xmlns:p14="http://schemas.microsoft.com/office/powerpoint/2010/main" val="380365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952D4-11D3-4EE6-9A7E-8EE691AF2F9E}"/>
              </a:ext>
            </a:extLst>
          </p:cNvPr>
          <p:cNvSpPr>
            <a:spLocks noGrp="1"/>
          </p:cNvSpPr>
          <p:nvPr>
            <p:ph type="title"/>
          </p:nvPr>
        </p:nvSpPr>
        <p:spPr>
          <a:xfrm>
            <a:off x="404508" y="504122"/>
            <a:ext cx="7328950" cy="492443"/>
          </a:xfrm>
        </p:spPr>
        <p:txBody>
          <a:bodyPr/>
          <a:lstStyle/>
          <a:p>
            <a:pPr lvl="0"/>
            <a:r>
              <a:rPr lang="en-US" dirty="0">
                <a:solidFill>
                  <a:srgbClr val="0070C0"/>
                </a:solidFill>
              </a:rPr>
              <a:t>Deploy | Step 2 : Select FSI solutions</a:t>
            </a:r>
            <a:endParaRPr lang="en-US" noProof="0" dirty="0">
              <a:solidFill>
                <a:srgbClr val="0070C0"/>
              </a:solidFill>
            </a:endParaRPr>
          </a:p>
        </p:txBody>
      </p:sp>
      <p:sp>
        <p:nvSpPr>
          <p:cNvPr id="4" name="Slide Number Placeholder 2">
            <a:extLst>
              <a:ext uri="{FF2B5EF4-FFF2-40B4-BE49-F238E27FC236}">
                <a16:creationId xmlns:a16="http://schemas.microsoft.com/office/drawing/2014/main" id="{41A30D38-C03F-462A-939B-696434D9FD4D}"/>
              </a:ext>
            </a:extLst>
          </p:cNvPr>
          <p:cNvSpPr txBox="1">
            <a:spLocks/>
          </p:cNvSpPr>
          <p:nvPr/>
        </p:nvSpPr>
        <p:spPr>
          <a:xfrm>
            <a:off x="11731625" y="6565900"/>
            <a:ext cx="460375" cy="24606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8C1A71A0-328F-4449-8228-450AE259F4B4}"/>
              </a:ext>
              <a:ext uri="{C183D7F6-B498-43B3-948B-1728B52AA6E4}">
                <adec:decorative xmlns:adec="http://schemas.microsoft.com/office/drawing/2017/decorative" val="1"/>
              </a:ext>
            </a:extLst>
          </p:cNvPr>
          <p:cNvGrpSpPr>
            <a:grpSpLocks noChangeAspect="1"/>
          </p:cNvGrpSpPr>
          <p:nvPr/>
        </p:nvGrpSpPr>
        <p:grpSpPr>
          <a:xfrm>
            <a:off x="10545693" y="207787"/>
            <a:ext cx="831086" cy="831086"/>
            <a:chOff x="3971738" y="1124181"/>
            <a:chExt cx="831086" cy="831086"/>
          </a:xfrm>
        </p:grpSpPr>
        <p:grpSp>
          <p:nvGrpSpPr>
            <p:cNvPr id="59" name="Group 58">
              <a:extLst>
                <a:ext uri="{FF2B5EF4-FFF2-40B4-BE49-F238E27FC236}">
                  <a16:creationId xmlns:a16="http://schemas.microsoft.com/office/drawing/2014/main" id="{0C89821D-07C8-4BF4-B1D2-41992FDCE804}"/>
                </a:ext>
              </a:extLst>
            </p:cNvPr>
            <p:cNvGrpSpPr>
              <a:grpSpLocks/>
            </p:cNvGrpSpPr>
            <p:nvPr/>
          </p:nvGrpSpPr>
          <p:grpSpPr>
            <a:xfrm>
              <a:off x="3971738" y="1124181"/>
              <a:ext cx="831086" cy="831086"/>
              <a:chOff x="2677356" y="489672"/>
              <a:chExt cx="832104" cy="832104"/>
            </a:xfrm>
          </p:grpSpPr>
          <p:sp>
            <p:nvSpPr>
              <p:cNvPr id="63" name="Oval 62">
                <a:extLst>
                  <a:ext uri="{FF2B5EF4-FFF2-40B4-BE49-F238E27FC236}">
                    <a16:creationId xmlns:a16="http://schemas.microsoft.com/office/drawing/2014/main" id="{441FD141-F7E6-4F53-A9F9-A97DC23C432F}"/>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64" name="Oval 63">
                <a:extLst>
                  <a:ext uri="{FF2B5EF4-FFF2-40B4-BE49-F238E27FC236}">
                    <a16:creationId xmlns:a16="http://schemas.microsoft.com/office/drawing/2014/main" id="{AB026EC7-609A-4881-88A9-3C03B9F9865A}"/>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60" name="Group 59">
              <a:extLst>
                <a:ext uri="{FF2B5EF4-FFF2-40B4-BE49-F238E27FC236}">
                  <a16:creationId xmlns:a16="http://schemas.microsoft.com/office/drawing/2014/main" id="{25B1B3BA-C0EB-4787-A3E5-75A78FCCF696}"/>
                </a:ext>
              </a:extLst>
            </p:cNvPr>
            <p:cNvGrpSpPr/>
            <p:nvPr/>
          </p:nvGrpSpPr>
          <p:grpSpPr>
            <a:xfrm>
              <a:off x="4124727" y="1294947"/>
              <a:ext cx="525108" cy="489556"/>
              <a:chOff x="5859222" y="4988679"/>
              <a:chExt cx="467957" cy="436275"/>
            </a:xfrm>
          </p:grpSpPr>
          <p:sp>
            <p:nvSpPr>
              <p:cNvPr id="61" name="Freeform: Shape 60">
                <a:extLst>
                  <a:ext uri="{FF2B5EF4-FFF2-40B4-BE49-F238E27FC236}">
                    <a16:creationId xmlns:a16="http://schemas.microsoft.com/office/drawing/2014/main" id="{0AE512B4-9A5C-4F8C-A17C-8A653694B87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rgbClr val="0078D4"/>
              </a:solidFill>
              <a:ln w="481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62" name="Straight Arrow Connector 61">
                <a:extLst>
                  <a:ext uri="{FF2B5EF4-FFF2-40B4-BE49-F238E27FC236}">
                    <a16:creationId xmlns:a16="http://schemas.microsoft.com/office/drawing/2014/main" id="{D774D358-26BE-4B06-BC65-5C997E23B9D6}"/>
                  </a:ext>
                </a:extLst>
              </p:cNvPr>
              <p:cNvCxnSpPr>
                <a:cxnSpLocks/>
              </p:cNvCxnSpPr>
              <p:nvPr/>
            </p:nvCxnSpPr>
            <p:spPr>
              <a:xfrm>
                <a:off x="6093200" y="5157788"/>
                <a:ext cx="0" cy="267166"/>
              </a:xfrm>
              <a:prstGeom prst="straightConnector1">
                <a:avLst/>
              </a:prstGeom>
              <a:noFill/>
              <a:ln w="19050" cap="flat" cmpd="sng" algn="ctr">
                <a:solidFill>
                  <a:srgbClr val="50E6FF"/>
                </a:solidFill>
                <a:prstDash val="solid"/>
                <a:headEnd type="none" w="lg" len="med"/>
                <a:tailEnd type="arrow" w="med" len="sm"/>
              </a:ln>
              <a:effectLst/>
            </p:spPr>
          </p:cxnSp>
        </p:grpSp>
      </p:grpSp>
      <p:sp>
        <p:nvSpPr>
          <p:cNvPr id="34" name="Arrow: Right 33">
            <a:extLst>
              <a:ext uri="{FF2B5EF4-FFF2-40B4-BE49-F238E27FC236}">
                <a16:creationId xmlns:a16="http://schemas.microsoft.com/office/drawing/2014/main" id="{F72A8EBB-3729-463C-9A8A-330A532788FC}"/>
              </a:ext>
              <a:ext uri="{C183D7F6-B498-43B3-948B-1728B52AA6E4}">
                <adec:decorative xmlns:adec="http://schemas.microsoft.com/office/drawing/2017/decorative" val="1"/>
              </a:ext>
            </a:extLst>
          </p:cNvPr>
          <p:cNvSpPr/>
          <p:nvPr/>
        </p:nvSpPr>
        <p:spPr>
          <a:xfrm>
            <a:off x="3202597" y="1724101"/>
            <a:ext cx="506374" cy="320480"/>
          </a:xfrm>
          <a:prstGeom prst="rightArrow">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E98990D-45F9-4CA3-9BDF-B8929768F782}"/>
              </a:ext>
            </a:extLst>
          </p:cNvPr>
          <p:cNvSpPr txBox="1"/>
          <p:nvPr/>
        </p:nvSpPr>
        <p:spPr>
          <a:xfrm>
            <a:off x="109798" y="1840490"/>
            <a:ext cx="2270693" cy="369332"/>
          </a:xfrm>
          <a:prstGeom prst="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Segoe UI"/>
              </a:rPr>
              <a:t>View solutions</a:t>
            </a:r>
            <a:endParaRPr kumimoji="0" lang="en-US" sz="1800" b="0" i="0" strike="noStrike" kern="1200" cap="none" spc="0" normalizeH="0" baseline="0" noProof="0" dirty="0">
              <a:ln>
                <a:noFill/>
              </a:ln>
              <a:solidFill>
                <a:srgbClr val="0078D4"/>
              </a:solidFill>
              <a:effectLst/>
              <a:uLnTx/>
              <a:uFillTx/>
              <a:latin typeface="Segoe UI Semibold"/>
              <a:ea typeface="+mn-ea"/>
              <a:cs typeface="Segoe UI"/>
            </a:endParaRPr>
          </a:p>
        </p:txBody>
      </p:sp>
      <p:pic>
        <p:nvPicPr>
          <p:cNvPr id="7" name="Picture 6">
            <a:extLst>
              <a:ext uri="{FF2B5EF4-FFF2-40B4-BE49-F238E27FC236}">
                <a16:creationId xmlns:a16="http://schemas.microsoft.com/office/drawing/2014/main" id="{17D022F6-17E9-40DD-B5B3-62CADCDEEE6A}"/>
              </a:ext>
            </a:extLst>
          </p:cNvPr>
          <p:cNvPicPr>
            <a:picLocks noChangeAspect="1"/>
          </p:cNvPicPr>
          <p:nvPr/>
        </p:nvPicPr>
        <p:blipFill>
          <a:blip r:embed="rId3"/>
          <a:stretch>
            <a:fillRect/>
          </a:stretch>
        </p:blipFill>
        <p:spPr>
          <a:xfrm>
            <a:off x="2510612" y="1529339"/>
            <a:ext cx="9571589" cy="4948547"/>
          </a:xfrm>
          <a:prstGeom prst="rect">
            <a:avLst/>
          </a:prstGeom>
          <a:solidFill>
            <a:srgbClr val="FFFFFF">
              <a:shade val="85000"/>
            </a:srgbClr>
          </a:solidFill>
          <a:ln w="8890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31564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Grs1xNTjTZKENexiDUF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Grs1xNTjTZKENexiDUF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1_Cross Industry Cloud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SharedWithUsers xmlns="ebee02fc-aa92-4ccf-baef-2bc29ee229e3">
      <UserInfo>
        <DisplayName>SharingLinks.47a7e55b-d5a5-4f8c-9d8d-11d5ae009f54.OrganizationEdit.95662b42-d9ee-46b4-acf0-1901d019b340</DisplayName>
        <AccountId>14</AccountId>
        <AccountType/>
      </UserInfo>
      <UserInfo>
        <DisplayName>Roy Sharples</DisplayName>
        <AccountId>16</AccountId>
        <AccountType/>
      </UserInfo>
      <UserInfo>
        <DisplayName>Steve Franklin</DisplayName>
        <AccountId>60</AccountId>
        <AccountType/>
      </UserInfo>
      <UserInfo>
        <DisplayName>Lindsay Berg</DisplayName>
        <AccountId>75</AccountId>
        <AccountType/>
      </UserInfo>
      <UserInfo>
        <DisplayName>Roni Karassik</DisplayName>
        <AccountId>6575</AccountId>
        <AccountType/>
      </UserInfo>
    </SharedWithUsers>
    <lcf76f155ced4ddcb4097134ff3c332f xmlns="ce1c67b8-2098-43d7-b846-1b6c27fb687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928BA140C18543A792BA1CAFFAC3F5" ma:contentTypeVersion="17" ma:contentTypeDescription="Create a new document." ma:contentTypeScope="" ma:versionID="6cf7205d31c77f78f2de9f1f23506612">
  <xsd:schema xmlns:xsd="http://www.w3.org/2001/XMLSchema" xmlns:xs="http://www.w3.org/2001/XMLSchema" xmlns:p="http://schemas.microsoft.com/office/2006/metadata/properties" xmlns:ns1="http://schemas.microsoft.com/sharepoint/v3" xmlns:ns2="ce1c67b8-2098-43d7-b846-1b6c27fb687a" xmlns:ns3="ebee02fc-aa92-4ccf-baef-2bc29ee229e3" xmlns:ns4="230e9df3-be65-4c73-a93b-d1236ebd677e" targetNamespace="http://schemas.microsoft.com/office/2006/metadata/properties" ma:root="true" ma:fieldsID="8df25a0005e8e90a175b860fe9de3bd0" ns1:_="" ns2:_="" ns3:_="" ns4:_="">
    <xsd:import namespace="http://schemas.microsoft.com/sharepoint/v3"/>
    <xsd:import namespace="ce1c67b8-2098-43d7-b846-1b6c27fb687a"/>
    <xsd:import namespace="ebee02fc-aa92-4ccf-baef-2bc29ee229e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1c67b8-2098-43d7-b846-1b6c27fb68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bee02fc-aa92-4ccf-baef-2bc29ee229e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3520f3-e779-4c56-9e6c-b3bcb1d70b8a}" ma:internalName="TaxCatchAll" ma:showField="CatchAllData" ma:web="ebee02fc-aa92-4ccf-baef-2bc29ee229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E728960-BA27-4A0F-855B-0B0557917248}">
  <ds:schemaRefs>
    <ds:schemaRef ds:uri="549a84c2-c220-492e-8d69-fc9d9337e01f"/>
    <ds:schemaRef ds:uri="891fa701-effe-4fe4-abc8-ff05c8d322f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bbdd0f3e-3b55-43ee-a177-98576a07dc1e"/>
    <ds:schemaRef ds:uri="230e9df3-be65-4c73-a93b-d1236ebd677e"/>
    <ds:schemaRef ds:uri="a09ffceb-4832-45c2-824d-c339469f206d"/>
    <ds:schemaRef ds:uri="ebee02fc-aa92-4ccf-baef-2bc29ee229e3"/>
    <ds:schemaRef ds:uri="ce1c67b8-2098-43d7-b846-1b6c27fb687a"/>
  </ds:schemaRefs>
</ds:datastoreItem>
</file>

<file path=customXml/itemProps2.xml><?xml version="1.0" encoding="utf-8"?>
<ds:datastoreItem xmlns:ds="http://schemas.openxmlformats.org/officeDocument/2006/customXml" ds:itemID="{C955B9BC-421A-4AE9-9E18-2C99ABCC757D}">
  <ds:schemaRefs>
    <ds:schemaRef ds:uri="http://schemas.microsoft.com/sharepoint/v3/contenttype/forms"/>
  </ds:schemaRefs>
</ds:datastoreItem>
</file>

<file path=customXml/itemProps3.xml><?xml version="1.0" encoding="utf-8"?>
<ds:datastoreItem xmlns:ds="http://schemas.openxmlformats.org/officeDocument/2006/customXml" ds:itemID="{C6B0A4A6-A560-4B28-BF2B-1275E5FF30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1c67b8-2098-43d7-b846-1b6c27fb687a"/>
    <ds:schemaRef ds:uri="ebee02fc-aa92-4ccf-baef-2bc29ee229e3"/>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363</TotalTime>
  <Words>2247</Words>
  <Application>Microsoft Office PowerPoint</Application>
  <PresentationFormat>Widescreen</PresentationFormat>
  <Paragraphs>301</Paragraphs>
  <Slides>16</Slides>
  <Notes>1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Segoe UI</vt:lpstr>
      <vt:lpstr>Segoe UI Semibold</vt:lpstr>
      <vt:lpstr>Wingdings</vt:lpstr>
      <vt:lpstr>1_Cross Industry Cloud Template</vt:lpstr>
      <vt:lpstr>think-cell Slide</vt:lpstr>
      <vt:lpstr>Microsoft Cloud Solution Center</vt:lpstr>
      <vt:lpstr>PowerPoint Presentation</vt:lpstr>
      <vt:lpstr>PowerPoint Presentation</vt:lpstr>
      <vt:lpstr>Select and Procure | Cloud for Financial Services</vt:lpstr>
      <vt:lpstr>Features and Solution Dependencies</vt:lpstr>
      <vt:lpstr>Deploy via Microsoft Cloud Solution Center</vt:lpstr>
      <vt:lpstr>Deploy via Microsoft Cloud Solution Center</vt:lpstr>
      <vt:lpstr>Deploy | Step 1 : Prepare Environment</vt:lpstr>
      <vt:lpstr>Deploy | Step 2 : Select FSI solutions</vt:lpstr>
      <vt:lpstr>Deploy | Step 3 : Select destination</vt:lpstr>
      <vt:lpstr>Deploy | Step 4 : Configure dependencies</vt:lpstr>
      <vt:lpstr>Deploy | Step 5 : Install FSI solutions</vt:lpstr>
      <vt:lpstr>Deploy | Step 6 : Track solution status</vt:lpstr>
      <vt:lpstr>Configure | Post deployment configuration</vt:lpstr>
      <vt:lpstr>Configure | Post deployment solution configuration</vt:lpstr>
      <vt:lpstr>Configure | Post deployment user configur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 CUSTOMER Microsoft Cloud for Healthcare BDM Deck Oct 2020</dc:title>
  <dc:creator>Lauren Eagan</dc:creator>
  <cp:keywords/>
  <cp:lastModifiedBy>James Bamford</cp:lastModifiedBy>
  <cp:revision>47</cp:revision>
  <dcterms:created xsi:type="dcterms:W3CDTF">2020-05-06T02:12:21Z</dcterms:created>
  <dcterms:modified xsi:type="dcterms:W3CDTF">2021-11-09T17:3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928BA140C18543A792BA1CAFFAC3F5</vt:lpwstr>
  </property>
  <property fmtid="{D5CDD505-2E9C-101B-9397-08002B2CF9AE}" pid="3" name="_dlc_policyId">
    <vt:lpwstr>0x0101000E4CB7077FEE4FF7AE86D4A500EEC780030016C849C62B10EB41ACA8C7EEDEF40BB20050EB00E9798C2647B5B35AABE2979694|-661092312</vt:lpwstr>
  </property>
  <property fmtid="{D5CDD505-2E9C-101B-9397-08002B2CF9AE}" pid="4" name="Confidentiality">
    <vt:lpwstr>14;#customer ready|8986c41d-21c5-4f8f-8a12-ea4625b46858</vt:lpwstr>
  </property>
  <property fmtid="{D5CDD505-2E9C-101B-9397-08002B2CF9AE}" pid="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 name="_dlc_DocIdItemGuid">
    <vt:lpwstr>18699dbf-f411-4d37-bfdd-07466398618d</vt:lpwstr>
  </property>
  <property fmtid="{D5CDD505-2E9C-101B-9397-08002B2CF9AE}" pid="7" name="of67e5d4b76f4a9db8769983fda9cec0">
    <vt:lpwstr/>
  </property>
  <property fmtid="{D5CDD505-2E9C-101B-9397-08002B2CF9AE}" pid="8" name="TaxKeyword">
    <vt:lpwstr/>
  </property>
  <property fmtid="{D5CDD505-2E9C-101B-9397-08002B2CF9AE}" pid="9" name="NewsType">
    <vt:lpwstr/>
  </property>
  <property fmtid="{D5CDD505-2E9C-101B-9397-08002B2CF9AE}" pid="10" name="Region">
    <vt:lpwstr/>
  </property>
  <property fmtid="{D5CDD505-2E9C-101B-9397-08002B2CF9AE}" pid="11" name="ItemType">
    <vt:lpwstr>3739;#documents|e037ed84-7d8e-4cbb-9c8f-61e80301a44f</vt:lpwstr>
  </property>
  <property fmtid="{D5CDD505-2E9C-101B-9397-08002B2CF9AE}" pid="12" name="Industries">
    <vt:lpwstr>355;#health industry|540e516c-414e-4b93-a293-f6e125b021cb</vt:lpwstr>
  </property>
  <property fmtid="{D5CDD505-2E9C-101B-9397-08002B2CF9AE}" pid="13" name="MSProducts">
    <vt:lpwstr/>
  </property>
  <property fmtid="{D5CDD505-2E9C-101B-9397-08002B2CF9AE}" pid="14" name="SMSGDomain">
    <vt:lpwstr>2451;#Industry Domain|4185fa78-165e-4b7a-afd2-07062d786de7</vt:lpwstr>
  </property>
  <property fmtid="{D5CDD505-2E9C-101B-9397-08002B2CF9AE}" pid="15" name="Competitors">
    <vt:lpwstr/>
  </property>
  <property fmtid="{D5CDD505-2E9C-101B-9397-08002B2CF9AE}" pid="16" name="ExperienceContentType">
    <vt:lpwstr/>
  </property>
  <property fmtid="{D5CDD505-2E9C-101B-9397-08002B2CF9AE}" pid="17" name="BusinessArchitecture">
    <vt:lpwstr/>
  </property>
  <property fmtid="{D5CDD505-2E9C-101B-9397-08002B2CF9AE}" pid="18" name="Products">
    <vt:lpwstr>2287;#not product specific|722703bb-614e-4740-a345-4bbdc40016a8</vt:lpwstr>
  </property>
  <property fmtid="{D5CDD505-2E9C-101B-9397-08002B2CF9AE}" pid="19" name="l6f004f21209409da86a713c0f24627d">
    <vt:lpwstr/>
  </property>
  <property fmtid="{D5CDD505-2E9C-101B-9397-08002B2CF9AE}" pid="20" name="MSProductsTaxHTField0">
    <vt:lpwstr/>
  </property>
  <property fmtid="{D5CDD505-2E9C-101B-9397-08002B2CF9AE}" pid="21" name="e8080b0481964c759b2c36ae49591b31">
    <vt:lpwstr/>
  </property>
  <property fmtid="{D5CDD505-2E9C-101B-9397-08002B2CF9AE}" pid="22" name="TechnicalLevel">
    <vt:lpwstr>3738;#100 (beginner)|7d022d07-ff67-4af8-910d-8ea6b46b5908</vt:lpwstr>
  </property>
  <property fmtid="{D5CDD505-2E9C-101B-9397-08002B2CF9AE}" pid="23" name="Audiences">
    <vt:lpwstr/>
  </property>
  <property fmtid="{D5CDD505-2E9C-101B-9397-08002B2CF9AE}" pid="24" name="SMSG Items">
    <vt:lpwstr>3810;#documents|e037ed84-7d8e-4cbb-9c8f-61e80301a44f</vt:lpwstr>
  </property>
  <property fmtid="{D5CDD505-2E9C-101B-9397-08002B2CF9AE}" pid="25" name="Solution Areas">
    <vt:lpwstr>4132;#not solution area specific|8c6cfd38-6d68-482e-b804-d4582ad5b9fe</vt:lpwstr>
  </property>
  <property fmtid="{D5CDD505-2E9C-101B-9397-08002B2CF9AE}" pid="26" name="ldac8aee9d1f469e8cd8c3f8d6a615f2">
    <vt:lpwstr/>
  </property>
  <property fmtid="{D5CDD505-2E9C-101B-9397-08002B2CF9AE}" pid="27" name="EmployeeRole">
    <vt:lpwstr/>
  </property>
  <property fmtid="{D5CDD505-2E9C-101B-9397-08002B2CF9AE}" pid="28" name="NewsTopic">
    <vt:lpwstr/>
  </property>
  <property fmtid="{D5CDD505-2E9C-101B-9397-08002B2CF9AE}" pid="29" name="Roles">
    <vt:lpwstr>139;#All Standard Titles|ef7f2c35-3932-45cd-837a-94fa96ae23cb</vt:lpwstr>
  </property>
  <property fmtid="{D5CDD505-2E9C-101B-9397-08002B2CF9AE}" pid="30" name="MSProfessions">
    <vt:lpwstr>3809;#not role specific|f39e3092-9b1b-420b-9a5e-af4e2e586259</vt:lpwstr>
  </property>
  <property fmtid="{D5CDD505-2E9C-101B-9397-08002B2CF9AE}" pid="31" name="NewsSource">
    <vt:lpwstr/>
  </property>
  <property fmtid="{D5CDD505-2E9C-101B-9397-08002B2CF9AE}" pid="32" name="SMSGTags">
    <vt:lpwstr/>
  </property>
  <property fmtid="{D5CDD505-2E9C-101B-9397-08002B2CF9AE}" pid="33" name="MSPhysicalGeography">
    <vt:lpwstr/>
  </property>
  <property fmtid="{D5CDD505-2E9C-101B-9397-08002B2CF9AE}" pid="34" name="EnterpriseDomainTags">
    <vt:lpwstr/>
  </property>
  <property fmtid="{D5CDD505-2E9C-101B-9397-08002B2CF9AE}" pid="35" name="j3562c58ee414e028925bc902cfc01a1">
    <vt:lpwstr/>
  </property>
  <property fmtid="{D5CDD505-2E9C-101B-9397-08002B2CF9AE}" pid="36" name="Segments">
    <vt:lpwstr/>
  </property>
  <property fmtid="{D5CDD505-2E9C-101B-9397-08002B2CF9AE}" pid="37" name="Partners">
    <vt:lpwstr/>
  </property>
  <property fmtid="{D5CDD505-2E9C-101B-9397-08002B2CF9AE}" pid="38" name="ActivitiesAndPrograms">
    <vt:lpwstr/>
  </property>
  <property fmtid="{D5CDD505-2E9C-101B-9397-08002B2CF9AE}" pid="39" name="la4444b61d19467597d63190b69ac227">
    <vt:lpwstr/>
  </property>
  <property fmtid="{D5CDD505-2E9C-101B-9397-08002B2CF9AE}" pid="40" name="Topics">
    <vt:lpwstr/>
  </property>
  <property fmtid="{D5CDD505-2E9C-101B-9397-08002B2CF9AE}" pid="41" name="Groups">
    <vt:lpwstr/>
  </property>
  <property fmtid="{D5CDD505-2E9C-101B-9397-08002B2CF9AE}" pid="42" name="Languages">
    <vt:lpwstr/>
  </property>
  <property fmtid="{D5CDD505-2E9C-101B-9397-08002B2CF9AE}" pid="43" name="_docset_NoMedatataSyncRequired">
    <vt:lpwstr>False</vt:lpwstr>
  </property>
  <property fmtid="{D5CDD505-2E9C-101B-9397-08002B2CF9AE}" pid="44" name="MSIP_Label_f42aa342-8706-4288-bd11-ebb85995028c_Enabled">
    <vt:lpwstr>true</vt:lpwstr>
  </property>
  <property fmtid="{D5CDD505-2E9C-101B-9397-08002B2CF9AE}" pid="45" name="MSIP_Label_f42aa342-8706-4288-bd11-ebb85995028c_SetDate">
    <vt:lpwstr>2020-07-21T18:51:57Z</vt:lpwstr>
  </property>
  <property fmtid="{D5CDD505-2E9C-101B-9397-08002B2CF9AE}" pid="46" name="MSIP_Label_f42aa342-8706-4288-bd11-ebb85995028c_Method">
    <vt:lpwstr>Standard</vt:lpwstr>
  </property>
  <property fmtid="{D5CDD505-2E9C-101B-9397-08002B2CF9AE}" pid="47" name="MSIP_Label_f42aa342-8706-4288-bd11-ebb85995028c_Name">
    <vt:lpwstr>Internal</vt:lpwstr>
  </property>
  <property fmtid="{D5CDD505-2E9C-101B-9397-08002B2CF9AE}" pid="48" name="MSIP_Label_f42aa342-8706-4288-bd11-ebb85995028c_SiteId">
    <vt:lpwstr>72f988bf-86f1-41af-91ab-2d7cd011db47</vt:lpwstr>
  </property>
  <property fmtid="{D5CDD505-2E9C-101B-9397-08002B2CF9AE}" pid="49" name="MSIP_Label_f42aa342-8706-4288-bd11-ebb85995028c_ActionId">
    <vt:lpwstr>781631e8-2a91-4fba-a3bd-1ec29663b4d5</vt:lpwstr>
  </property>
  <property fmtid="{D5CDD505-2E9C-101B-9397-08002B2CF9AE}" pid="50" name="MSIP_Label_f42aa342-8706-4288-bd11-ebb85995028c_ContentBits">
    <vt:lpwstr>0</vt:lpwstr>
  </property>
  <property fmtid="{D5CDD505-2E9C-101B-9397-08002B2CF9AE}" pid="51" name="MediaServiceImageTags">
    <vt:lpwstr/>
  </property>
</Properties>
</file>